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6" r:id="rId2"/>
    <p:sldId id="266" r:id="rId3"/>
    <p:sldId id="264" r:id="rId4"/>
    <p:sldId id="259" r:id="rId5"/>
    <p:sldId id="257" r:id="rId6"/>
    <p:sldId id="258" r:id="rId7"/>
    <p:sldId id="263" r:id="rId8"/>
    <p:sldId id="265" r:id="rId9"/>
    <p:sldId id="268" r:id="rId10"/>
    <p:sldId id="267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9970EA"/>
    <a:srgbClr val="FA82E9"/>
    <a:srgbClr val="909090"/>
    <a:srgbClr val="7983D7"/>
    <a:srgbClr val="2F2F37"/>
    <a:srgbClr val="FAFAFC"/>
    <a:srgbClr val="8790DB"/>
    <a:srgbClr val="A6ACE4"/>
    <a:srgbClr val="4757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9BF6C7-7B87-4D8A-81F7-61D71B3C0A4C}" v="53" dt="2022-11-27T04:43:53.55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0" autoAdjust="0"/>
    <p:restoredTop sz="95641" autoAdjust="0"/>
  </p:normalViewPr>
  <p:slideViewPr>
    <p:cSldViewPr snapToGrid="0" showGuides="1">
      <p:cViewPr varScale="1">
        <p:scale>
          <a:sx n="109" d="100"/>
          <a:sy n="109" d="100"/>
        </p:scale>
        <p:origin x="672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홍 은주" userId="418a5682eae16732" providerId="LiveId" clId="{029BF6C7-7B87-4D8A-81F7-61D71B3C0A4C}"/>
    <pc:docChg chg="undo redo custSel modSld">
      <pc:chgData name="홍 은주" userId="418a5682eae16732" providerId="LiveId" clId="{029BF6C7-7B87-4D8A-81F7-61D71B3C0A4C}" dt="2022-11-27T04:46:20.819" v="224" actId="20577"/>
      <pc:docMkLst>
        <pc:docMk/>
      </pc:docMkLst>
      <pc:sldChg chg="addSp delSp modSp mod">
        <pc:chgData name="홍 은주" userId="418a5682eae16732" providerId="LiveId" clId="{029BF6C7-7B87-4D8A-81F7-61D71B3C0A4C}" dt="2022-11-27T04:41:47.925" v="196" actId="1076"/>
        <pc:sldMkLst>
          <pc:docMk/>
          <pc:sldMk cId="4202762094" sldId="257"/>
        </pc:sldMkLst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2" creationId="{E450A5B9-89D5-8FBD-5575-2579B2EE0083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3" creationId="{ED3D5F18-2C3B-F163-0CBF-198954EDFF9E}"/>
          </ac:spMkLst>
        </pc:spChg>
        <pc:spChg chg="add del mod">
          <ac:chgData name="홍 은주" userId="418a5682eae16732" providerId="LiveId" clId="{029BF6C7-7B87-4D8A-81F7-61D71B3C0A4C}" dt="2022-11-27T04:27:54.035" v="72"/>
          <ac:spMkLst>
            <pc:docMk/>
            <pc:sldMk cId="4202762094" sldId="257"/>
            <ac:spMk id="4" creationId="{0C052906-D42D-19E1-8F1C-6401B55F13FA}"/>
          </ac:spMkLst>
        </pc:spChg>
        <pc:spChg chg="add 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5" creationId="{34B19AD8-4312-1AFF-0FD0-9434CDCF83E6}"/>
          </ac:spMkLst>
        </pc:spChg>
        <pc:spChg chg="add 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8" creationId="{94915359-840A-673F-E365-A0A019B4D603}"/>
          </ac:spMkLst>
        </pc:spChg>
        <pc:spChg chg="add 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1" creationId="{E2E85E74-6BC7-B01B-56DD-EA527A571EAB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50" creationId="{DD662135-3ECF-E643-A381-29BCE2033F36}"/>
          </ac:spMkLst>
        </pc:spChg>
        <pc:spChg chg="mod">
          <ac:chgData name="홍 은주" userId="418a5682eae16732" providerId="LiveId" clId="{029BF6C7-7B87-4D8A-81F7-61D71B3C0A4C}" dt="2022-11-27T04:40:16.271" v="180" actId="164"/>
          <ac:spMkLst>
            <pc:docMk/>
            <pc:sldMk cId="4202762094" sldId="257"/>
            <ac:spMk id="53" creationId="{7A7CC297-B50E-4B18-B4AF-D63A2A224E30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59" creationId="{D584A868-AAAF-B18D-1F5E-CC3DB0B50D6A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62" creationId="{F30BEB66-B035-AD6A-D6E5-86DC0D2584DA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63" creationId="{2DE05194-5584-6985-2C6F-104C5F096D8E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66" creationId="{747FD8CD-09DB-9BC3-91A1-BD3287B70E02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68" creationId="{52866EC3-4F07-6E59-7C97-8B61C247AC73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72" creationId="{B41F28C7-00AC-4E90-B1CB-EEEFEBE98677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73" creationId="{06D2FA35-B524-4864-B1CC-AECCFD1C72CA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75" creationId="{65815A8E-B403-45A9-9282-A81351CD169C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76" creationId="{53108F9C-AFD9-45CB-A1B1-3D97601CFC77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78" creationId="{E8930744-61C7-481A-9852-F7FCE714B623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79" creationId="{8B0813B8-70CF-4C4B-90BC-7290D935F383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80" creationId="{67843A35-E4B6-4D9B-8B84-6C5B0E8CAFE8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81" creationId="{FBC8C79A-262A-4117-A1D6-0B7D655FBE45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96" creationId="{1FCB567B-9A0E-6EFF-6511-080CB7E79DBB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97" creationId="{1EDF2B9A-5505-397E-F715-0B1F1181934D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98" creationId="{4C5CAD24-AA1C-4FDA-773A-845A7E8D6A43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01" creationId="{F2D44E33-E110-384F-78E4-D65A019BD4E9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02" creationId="{1A6A6B5E-2FB8-714D-FDCA-3E3D422E1F4D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04" creationId="{90D08DFB-2C94-1AEE-B706-4A5A3916947C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11" creationId="{BE332042-B9C2-0CB3-FAC0-9DD74E621243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12" creationId="{CB4F9F58-B52A-C0F1-C12C-5CC8E9C04C2C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13" creationId="{2F149007-5C37-F475-0B42-E02F5BB48D01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15" creationId="{CD866720-A88A-C965-3DFD-E8A7D58A7B22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19" creationId="{B04402CC-9156-212D-A02B-19C449D0E0D8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20" creationId="{684CC0CA-01F8-196A-033A-22479EB052B9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21" creationId="{AB84007E-A822-E787-6AA1-442CE26B17AF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23" creationId="{C568EF56-77A5-CCF2-19C3-C8D1B9EA1C93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24" creationId="{9BDFB514-F49F-4344-C1D4-9EA3362BCCD4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25" creationId="{26146932-3064-486C-7617-0E875C752BB9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27" creationId="{BED1F54D-5BC0-5931-0F0A-08E882B784F4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28" creationId="{566DE845-D40B-9117-FBEF-AE2E5D8B7BF0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29" creationId="{E679B28C-66CD-63B8-8FCB-6E836F1464EB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31" creationId="{199211CA-2C3C-1E2C-9A35-F9FCF1A8C512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32" creationId="{D89FF8E0-D746-4F83-E293-DCB401E152CC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33" creationId="{AA2AFFC0-B35F-4A84-FCAE-C8E37A551317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34" creationId="{57AEB569-6C32-A8B9-844D-81DF9137594D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35" creationId="{4012F565-E5AB-C582-2110-2CCFCC843B57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36" creationId="{FF374258-B3DB-37DE-0AFF-7BA02502CE91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40" creationId="{A99A88D3-5E61-5592-B9A8-3BDBA34FCD41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41" creationId="{46055914-A223-BFA4-B55E-3BD54E643F4C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42" creationId="{A867DD9C-545B-FCBC-7F46-FAA4A760EA95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44" creationId="{D597D41C-A260-799C-EA51-A7B023E5365E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45" creationId="{5405289D-297F-0861-5292-19B51355D385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46" creationId="{F7558864-E975-2BD3-6E15-2D5EF3F386EF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147" creationId="{1EA8C1F0-EF7B-1675-86E0-B463B7C60A57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3139" creationId="{EAA95840-7626-05E6-0824-AF8D3D137BE6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3149" creationId="{CD610429-01E8-1C7D-7B4F-F6FEF6653EE8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3158" creationId="{7CF4E49B-B181-5614-58BE-39939D0ABE8B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3161" creationId="{673A5954-50DD-245E-C26A-EF105EE1735C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3184" creationId="{6FDFA322-9BBC-C9D0-6082-8E53E771CA04}"/>
          </ac:spMkLst>
        </pc:spChg>
        <pc:spChg chg="mod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3185" creationId="{0E35F26D-07C7-C8DC-6E62-9181EFDDBEEF}"/>
          </ac:spMkLst>
        </pc:spChg>
        <pc:spChg chg="mod topLvl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3193" creationId="{829269A8-2156-65B4-389D-07F0A603DAB8}"/>
          </ac:spMkLst>
        </pc:spChg>
        <pc:spChg chg="mod topLvl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3195" creationId="{DC715077-D63D-B3B3-DDC7-313377C2A954}"/>
          </ac:spMkLst>
        </pc:spChg>
        <pc:spChg chg="mod topLvl">
          <ac:chgData name="홍 은주" userId="418a5682eae16732" providerId="LiveId" clId="{029BF6C7-7B87-4D8A-81F7-61D71B3C0A4C}" dt="2022-11-27T04:41:47.925" v="196" actId="1076"/>
          <ac:spMkLst>
            <pc:docMk/>
            <pc:sldMk cId="4202762094" sldId="257"/>
            <ac:spMk id="3196" creationId="{C9A4CFDA-5DE8-EBB8-40F4-67C7888D2D47}"/>
          </ac:spMkLst>
        </pc:spChg>
        <pc:grpChg chg="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10" creationId="{48183662-1BAD-B5A5-44AF-F9215BCC7AFF}"/>
          </ac:grpSpMkLst>
        </pc:grpChg>
        <pc:grpChg chg="add 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12" creationId="{AA984E27-A458-A63F-19BD-99A1CAC2AF39}"/>
          </ac:grpSpMkLst>
        </pc:grpChg>
        <pc:grpChg chg="add 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16" creationId="{3060EFDF-3F56-5530-D0EF-BBED2481096A}"/>
          </ac:grpSpMkLst>
        </pc:grpChg>
        <pc:grpChg chg="add mod">
          <ac:chgData name="홍 은주" userId="418a5682eae16732" providerId="LiveId" clId="{029BF6C7-7B87-4D8A-81F7-61D71B3C0A4C}" dt="2022-11-27T04:40:18.815" v="181" actId="1076"/>
          <ac:grpSpMkLst>
            <pc:docMk/>
            <pc:sldMk cId="4202762094" sldId="257"/>
            <ac:grpSpMk id="33" creationId="{03008A69-61B5-06EC-800D-FCFF60DCEE08}"/>
          </ac:grpSpMkLst>
        </pc:grpChg>
        <pc:grpChg chg="add 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34" creationId="{870B2940-1138-F026-77A0-1BAA685469CA}"/>
          </ac:grpSpMkLst>
        </pc:grpChg>
        <pc:grpChg chg="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51" creationId="{C728CC2E-823B-95CA-3737-EFEC6DD93790}"/>
          </ac:grpSpMkLst>
        </pc:grpChg>
        <pc:grpChg chg="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55" creationId="{EFEA8B12-0C7A-9449-4794-725BA82ABFD0}"/>
          </ac:grpSpMkLst>
        </pc:grpChg>
        <pc:grpChg chg="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57" creationId="{E963C521-91C5-E6D8-6B9B-BBCB4651A0B5}"/>
          </ac:grpSpMkLst>
        </pc:grpChg>
        <pc:grpChg chg="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58" creationId="{468D7A39-18A4-7A50-484A-86600FB9B179}"/>
          </ac:grpSpMkLst>
        </pc:grpChg>
        <pc:grpChg chg="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60" creationId="{BC647F4B-116E-4D99-9088-DD552A026F37}"/>
          </ac:grpSpMkLst>
        </pc:grpChg>
        <pc:grpChg chg="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61" creationId="{B23FBAC1-446F-A19C-E56B-15034403EB7C}"/>
          </ac:grpSpMkLst>
        </pc:grpChg>
        <pc:grpChg chg="mod">
          <ac:chgData name="홍 은주" userId="418a5682eae16732" providerId="LiveId" clId="{029BF6C7-7B87-4D8A-81F7-61D71B3C0A4C}" dt="2022-11-27T04:40:16.271" v="180" actId="164"/>
          <ac:grpSpMkLst>
            <pc:docMk/>
            <pc:sldMk cId="4202762094" sldId="257"/>
            <ac:grpSpMk id="86" creationId="{05EFF006-F484-4665-9BC7-A2CC3CAE2500}"/>
          </ac:grpSpMkLst>
        </pc:grpChg>
        <pc:grpChg chg="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103" creationId="{9D5038D2-1AAA-29B9-9D64-2CED3B2A2694}"/>
          </ac:grpSpMkLst>
        </pc:grpChg>
        <pc:grpChg chg="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105" creationId="{2AFC1534-7C1E-7F92-A56F-DFC0C479EAA3}"/>
          </ac:grpSpMkLst>
        </pc:grpChg>
        <pc:grpChg chg="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106" creationId="{91A33F8A-1DF5-0D26-0D5C-C03DD08F313B}"/>
          </ac:grpSpMkLst>
        </pc:grpChg>
        <pc:grpChg chg="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114" creationId="{EA5CF06A-7013-D1F4-9B36-F293C65A6B94}"/>
          </ac:grpSpMkLst>
        </pc:grpChg>
        <pc:grpChg chg="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116" creationId="{9A1260BA-865C-6090-20EF-E4E619FD8553}"/>
          </ac:grpSpMkLst>
        </pc:grpChg>
        <pc:grpChg chg="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117" creationId="{754BE605-B4C3-BAFF-F222-0224072EF670}"/>
          </ac:grpSpMkLst>
        </pc:grpChg>
        <pc:grpChg chg="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118" creationId="{8EEBEEBB-EF9B-B74A-BCBB-943E1D460AAD}"/>
          </ac:grpSpMkLst>
        </pc:grpChg>
        <pc:grpChg chg="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122" creationId="{7B22E736-9E6A-32CF-AC62-AE0EDD482D30}"/>
          </ac:grpSpMkLst>
        </pc:grpChg>
        <pc:grpChg chg="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126" creationId="{6CFF2B14-1B02-B971-5BB4-B7F866A072E0}"/>
          </ac:grpSpMkLst>
        </pc:grpChg>
        <pc:grpChg chg="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130" creationId="{E660110A-FCD8-B49C-B6A2-B71A8EB0D799}"/>
          </ac:grpSpMkLst>
        </pc:grpChg>
        <pc:grpChg chg="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3134" creationId="{7F91C376-5BFB-DD0A-5723-550DFC72621C}"/>
          </ac:grpSpMkLst>
        </pc:grpChg>
        <pc:grpChg chg="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3141" creationId="{3E62F7D3-5A82-4AA6-C63A-AB1878FF6934}"/>
          </ac:grpSpMkLst>
        </pc:grpChg>
        <pc:grpChg chg="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3169" creationId="{0874DCA4-A822-BD46-7A86-E151BE170C20}"/>
          </ac:grpSpMkLst>
        </pc:grpChg>
        <pc:grpChg chg="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3170" creationId="{8020C7A7-6DE0-46B5-E0CB-FEFB49B1C8CA}"/>
          </ac:grpSpMkLst>
        </pc:grpChg>
        <pc:grpChg chg="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3171" creationId="{90F6E758-13F6-446B-476D-5E50262A133F}"/>
          </ac:grpSpMkLst>
        </pc:grpChg>
        <pc:grpChg chg="mod topLvl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3175" creationId="{0A1FDC1F-2929-8BF0-849C-0EE4CC223B9E}"/>
          </ac:grpSpMkLst>
        </pc:grpChg>
        <pc:grpChg chg="mod topLvl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3187" creationId="{9AE7C68F-E0C3-5B1C-3051-CF253B121314}"/>
          </ac:grpSpMkLst>
        </pc:grpChg>
        <pc:grpChg chg="add del mod">
          <ac:chgData name="홍 은주" userId="418a5682eae16732" providerId="LiveId" clId="{029BF6C7-7B87-4D8A-81F7-61D71B3C0A4C}" dt="2022-11-27T04:41:47.925" v="196" actId="1076"/>
          <ac:grpSpMkLst>
            <pc:docMk/>
            <pc:sldMk cId="4202762094" sldId="257"/>
            <ac:grpSpMk id="3197" creationId="{D8A3C545-547A-E7A3-23B1-C5ADB475813E}"/>
          </ac:grpSpMkLst>
        </pc:grpChg>
        <pc:picChg chg="add mod">
          <ac:chgData name="홍 은주" userId="418a5682eae16732" providerId="LiveId" clId="{029BF6C7-7B87-4D8A-81F7-61D71B3C0A4C}" dt="2022-11-27T04:41:47.925" v="196" actId="1076"/>
          <ac:picMkLst>
            <pc:docMk/>
            <pc:sldMk cId="4202762094" sldId="257"/>
            <ac:picMk id="7" creationId="{D8DE9747-B1E8-8732-635F-BB94DC53FC54}"/>
          </ac:picMkLst>
        </pc:picChg>
        <pc:picChg chg="add mod">
          <ac:chgData name="홍 은주" userId="418a5682eae16732" providerId="LiveId" clId="{029BF6C7-7B87-4D8A-81F7-61D71B3C0A4C}" dt="2022-11-27T04:41:47.925" v="196" actId="1076"/>
          <ac:picMkLst>
            <pc:docMk/>
            <pc:sldMk cId="4202762094" sldId="257"/>
            <ac:picMk id="13" creationId="{DBCA42A4-36C7-3655-E545-B4CAEDCEEBF1}"/>
          </ac:picMkLst>
        </pc:picChg>
        <pc:picChg chg="mod">
          <ac:chgData name="홍 은주" userId="418a5682eae16732" providerId="LiveId" clId="{029BF6C7-7B87-4D8A-81F7-61D71B3C0A4C}" dt="2022-11-27T04:41:47.925" v="196" actId="1076"/>
          <ac:picMkLst>
            <pc:docMk/>
            <pc:sldMk cId="4202762094" sldId="257"/>
            <ac:picMk id="67" creationId="{79511A09-BE38-E8DA-8159-42AF521F9F8B}"/>
          </ac:picMkLst>
        </pc:picChg>
        <pc:picChg chg="mod">
          <ac:chgData name="홍 은주" userId="418a5682eae16732" providerId="LiveId" clId="{029BF6C7-7B87-4D8A-81F7-61D71B3C0A4C}" dt="2022-11-27T04:41:47.925" v="196" actId="1076"/>
          <ac:picMkLst>
            <pc:docMk/>
            <pc:sldMk cId="4202762094" sldId="257"/>
            <ac:picMk id="3100" creationId="{3AD126E3-8F71-3FA9-7308-9D3C28DB67D7}"/>
          </ac:picMkLst>
        </pc:picChg>
        <pc:picChg chg="mod">
          <ac:chgData name="홍 은주" userId="418a5682eae16732" providerId="LiveId" clId="{029BF6C7-7B87-4D8A-81F7-61D71B3C0A4C}" dt="2022-11-27T04:41:47.925" v="196" actId="1076"/>
          <ac:picMkLst>
            <pc:docMk/>
            <pc:sldMk cId="4202762094" sldId="257"/>
            <ac:picMk id="3140" creationId="{98111C5B-8987-82E4-48AE-AEE18F7E1666}"/>
          </ac:picMkLst>
        </pc:picChg>
        <pc:picChg chg="mod">
          <ac:chgData name="홍 은주" userId="418a5682eae16732" providerId="LiveId" clId="{029BF6C7-7B87-4D8A-81F7-61D71B3C0A4C}" dt="2022-11-27T04:41:47.925" v="196" actId="1076"/>
          <ac:picMkLst>
            <pc:docMk/>
            <pc:sldMk cId="4202762094" sldId="257"/>
            <ac:picMk id="3142" creationId="{EDDDAA70-B1D7-F81B-69AF-432CF5A14B6B}"/>
          </ac:picMkLst>
        </pc:picChg>
        <pc:picChg chg="mod">
          <ac:chgData name="홍 은주" userId="418a5682eae16732" providerId="LiveId" clId="{029BF6C7-7B87-4D8A-81F7-61D71B3C0A4C}" dt="2022-11-27T04:41:47.925" v="196" actId="1076"/>
          <ac:picMkLst>
            <pc:docMk/>
            <pc:sldMk cId="4202762094" sldId="257"/>
            <ac:picMk id="3156" creationId="{3554B62F-E72D-2388-1585-22D16BC98FE0}"/>
          </ac:picMkLst>
        </pc:picChg>
        <pc:picChg chg="mod">
          <ac:chgData name="홍 은주" userId="418a5682eae16732" providerId="LiveId" clId="{029BF6C7-7B87-4D8A-81F7-61D71B3C0A4C}" dt="2022-11-27T04:41:47.925" v="196" actId="1076"/>
          <ac:picMkLst>
            <pc:docMk/>
            <pc:sldMk cId="4202762094" sldId="257"/>
            <ac:picMk id="3157" creationId="{F8272B4A-1DFD-07DD-250A-0B8CFA4D9191}"/>
          </ac:picMkLst>
        </pc:picChg>
        <pc:picChg chg="mod">
          <ac:chgData name="홍 은주" userId="418a5682eae16732" providerId="LiveId" clId="{029BF6C7-7B87-4D8A-81F7-61D71B3C0A4C}" dt="2022-11-27T04:41:47.925" v="196" actId="1076"/>
          <ac:picMkLst>
            <pc:docMk/>
            <pc:sldMk cId="4202762094" sldId="257"/>
            <ac:picMk id="3163" creationId="{30CDDD49-F7CE-4113-6BDB-A9CB2CE617D8}"/>
          </ac:picMkLst>
        </pc:picChg>
        <pc:picChg chg="mod">
          <ac:chgData name="홍 은주" userId="418a5682eae16732" providerId="LiveId" clId="{029BF6C7-7B87-4D8A-81F7-61D71B3C0A4C}" dt="2022-11-27T04:41:47.925" v="196" actId="1076"/>
          <ac:picMkLst>
            <pc:docMk/>
            <pc:sldMk cId="4202762094" sldId="257"/>
            <ac:picMk id="3186" creationId="{FAF8B2B4-0AA4-D6EA-1E8E-112593964356}"/>
          </ac:picMkLst>
        </pc:picChg>
        <pc:picChg chg="mod topLvl">
          <ac:chgData name="홍 은주" userId="418a5682eae16732" providerId="LiveId" clId="{029BF6C7-7B87-4D8A-81F7-61D71B3C0A4C}" dt="2022-11-27T04:41:47.925" v="196" actId="1076"/>
          <ac:picMkLst>
            <pc:docMk/>
            <pc:sldMk cId="4202762094" sldId="257"/>
            <ac:picMk id="3194" creationId="{441C9AA1-95C2-00AE-6D74-BE95E9D3E817}"/>
          </ac:picMkLst>
        </pc:picChg>
        <pc:cxnChg chg="add mod">
          <ac:chgData name="홍 은주" userId="418a5682eae16732" providerId="LiveId" clId="{029BF6C7-7B87-4D8A-81F7-61D71B3C0A4C}" dt="2022-11-27T04:41:47.925" v="196" actId="1076"/>
          <ac:cxnSpMkLst>
            <pc:docMk/>
            <pc:sldMk cId="4202762094" sldId="257"/>
            <ac:cxnSpMk id="14" creationId="{287F29D6-DB86-720C-EDA5-905BEBFDD611}"/>
          </ac:cxnSpMkLst>
        </pc:cxnChg>
        <pc:cxnChg chg="add mod ord">
          <ac:chgData name="홍 은주" userId="418a5682eae16732" providerId="LiveId" clId="{029BF6C7-7B87-4D8A-81F7-61D71B3C0A4C}" dt="2022-11-27T04:41:47.925" v="196" actId="1076"/>
          <ac:cxnSpMkLst>
            <pc:docMk/>
            <pc:sldMk cId="4202762094" sldId="257"/>
            <ac:cxnSpMk id="15" creationId="{9AD01F9F-E37A-E128-53EB-B1D81B445301}"/>
          </ac:cxnSpMkLst>
        </pc:cxnChg>
        <pc:cxnChg chg="add mod">
          <ac:chgData name="홍 은주" userId="418a5682eae16732" providerId="LiveId" clId="{029BF6C7-7B87-4D8A-81F7-61D71B3C0A4C}" dt="2022-11-27T04:41:47.925" v="196" actId="1076"/>
          <ac:cxnSpMkLst>
            <pc:docMk/>
            <pc:sldMk cId="4202762094" sldId="257"/>
            <ac:cxnSpMk id="31" creationId="{EA824CFF-DF66-5309-1E06-E08127C12DBF}"/>
          </ac:cxnSpMkLst>
        </pc:cxnChg>
        <pc:cxnChg chg="mod">
          <ac:chgData name="홍 은주" userId="418a5682eae16732" providerId="LiveId" clId="{029BF6C7-7B87-4D8A-81F7-61D71B3C0A4C}" dt="2022-11-27T04:41:47.925" v="196" actId="1076"/>
          <ac:cxnSpMkLst>
            <pc:docMk/>
            <pc:sldMk cId="4202762094" sldId="257"/>
            <ac:cxnSpMk id="56" creationId="{E74FA987-59FB-4FD1-9932-985719294C69}"/>
          </ac:cxnSpMkLst>
        </pc:cxnChg>
        <pc:cxnChg chg="mod">
          <ac:chgData name="홍 은주" userId="418a5682eae16732" providerId="LiveId" clId="{029BF6C7-7B87-4D8A-81F7-61D71B3C0A4C}" dt="2022-11-27T04:41:47.925" v="196" actId="1076"/>
          <ac:cxnSpMkLst>
            <pc:docMk/>
            <pc:sldMk cId="4202762094" sldId="257"/>
            <ac:cxnSpMk id="64" creationId="{849C3C7B-73B4-1137-0D91-00828384CD49}"/>
          </ac:cxnSpMkLst>
        </pc:cxnChg>
        <pc:cxnChg chg="mod">
          <ac:chgData name="홍 은주" userId="418a5682eae16732" providerId="LiveId" clId="{029BF6C7-7B87-4D8A-81F7-61D71B3C0A4C}" dt="2022-11-27T04:41:47.925" v="196" actId="1076"/>
          <ac:cxnSpMkLst>
            <pc:docMk/>
            <pc:sldMk cId="4202762094" sldId="257"/>
            <ac:cxnSpMk id="107" creationId="{B8741656-1B9F-7BA2-FC42-A8E9DA1ACFD1}"/>
          </ac:cxnSpMkLst>
        </pc:cxnChg>
        <pc:cxnChg chg="mod">
          <ac:chgData name="홍 은주" userId="418a5682eae16732" providerId="LiveId" clId="{029BF6C7-7B87-4D8A-81F7-61D71B3C0A4C}" dt="2022-11-27T04:41:47.925" v="196" actId="1076"/>
          <ac:cxnSpMkLst>
            <pc:docMk/>
            <pc:sldMk cId="4202762094" sldId="257"/>
            <ac:cxnSpMk id="108" creationId="{7B555E4D-63BB-3FBD-8E19-427CB16D0C07}"/>
          </ac:cxnSpMkLst>
        </pc:cxnChg>
        <pc:cxnChg chg="mod">
          <ac:chgData name="홍 은주" userId="418a5682eae16732" providerId="LiveId" clId="{029BF6C7-7B87-4D8A-81F7-61D71B3C0A4C}" dt="2022-11-27T04:41:47.925" v="196" actId="1076"/>
          <ac:cxnSpMkLst>
            <pc:docMk/>
            <pc:sldMk cId="4202762094" sldId="257"/>
            <ac:cxnSpMk id="109" creationId="{B9DECC47-4CAA-AFA3-7660-24CFE432DB10}"/>
          </ac:cxnSpMkLst>
        </pc:cxnChg>
        <pc:cxnChg chg="mod">
          <ac:chgData name="홍 은주" userId="418a5682eae16732" providerId="LiveId" clId="{029BF6C7-7B87-4D8A-81F7-61D71B3C0A4C}" dt="2022-11-27T04:41:47.925" v="196" actId="1076"/>
          <ac:cxnSpMkLst>
            <pc:docMk/>
            <pc:sldMk cId="4202762094" sldId="257"/>
            <ac:cxnSpMk id="110" creationId="{A9DCCD24-6ECD-ECAF-2488-767F2A2162ED}"/>
          </ac:cxnSpMkLst>
        </pc:cxnChg>
        <pc:cxnChg chg="mod">
          <ac:chgData name="홍 은주" userId="418a5682eae16732" providerId="LiveId" clId="{029BF6C7-7B87-4D8A-81F7-61D71B3C0A4C}" dt="2022-11-27T04:41:47.925" v="196" actId="1076"/>
          <ac:cxnSpMkLst>
            <pc:docMk/>
            <pc:sldMk cId="4202762094" sldId="257"/>
            <ac:cxnSpMk id="143" creationId="{B41D1F98-66F2-2C5D-5DAD-3B623D3CD42A}"/>
          </ac:cxnSpMkLst>
        </pc:cxnChg>
        <pc:cxnChg chg="del mod">
          <ac:chgData name="홍 은주" userId="418a5682eae16732" providerId="LiveId" clId="{029BF6C7-7B87-4D8A-81F7-61D71B3C0A4C}" dt="2022-11-27T04:39:42.926" v="174" actId="21"/>
          <ac:cxnSpMkLst>
            <pc:docMk/>
            <pc:sldMk cId="4202762094" sldId="257"/>
            <ac:cxnSpMk id="3082" creationId="{191C7FE8-B86C-E285-D012-A1454B907981}"/>
          </ac:cxnSpMkLst>
        </pc:cxnChg>
        <pc:cxnChg chg="mod">
          <ac:chgData name="홍 은주" userId="418a5682eae16732" providerId="LiveId" clId="{029BF6C7-7B87-4D8A-81F7-61D71B3C0A4C}" dt="2022-11-27T04:41:47.925" v="196" actId="1076"/>
          <ac:cxnSpMkLst>
            <pc:docMk/>
            <pc:sldMk cId="4202762094" sldId="257"/>
            <ac:cxnSpMk id="3083" creationId="{60437B0D-4C54-CF12-5FBD-61C5D3ACDB43}"/>
          </ac:cxnSpMkLst>
        </pc:cxnChg>
        <pc:cxnChg chg="mod">
          <ac:chgData name="홍 은주" userId="418a5682eae16732" providerId="LiveId" clId="{029BF6C7-7B87-4D8A-81F7-61D71B3C0A4C}" dt="2022-11-27T04:41:47.925" v="196" actId="1076"/>
          <ac:cxnSpMkLst>
            <pc:docMk/>
            <pc:sldMk cId="4202762094" sldId="257"/>
            <ac:cxnSpMk id="3084" creationId="{10E4F65D-4176-4FB3-D03C-221E5A48F35B}"/>
          </ac:cxnSpMkLst>
        </pc:cxnChg>
        <pc:cxnChg chg="mod">
          <ac:chgData name="홍 은주" userId="418a5682eae16732" providerId="LiveId" clId="{029BF6C7-7B87-4D8A-81F7-61D71B3C0A4C}" dt="2022-11-27T04:41:47.925" v="196" actId="1076"/>
          <ac:cxnSpMkLst>
            <pc:docMk/>
            <pc:sldMk cId="4202762094" sldId="257"/>
            <ac:cxnSpMk id="3173" creationId="{55D31933-537C-3C02-FF47-1060A5B4F0F3}"/>
          </ac:cxnSpMkLst>
        </pc:cxnChg>
        <pc:cxnChg chg="mod topLvl">
          <ac:chgData name="홍 은주" userId="418a5682eae16732" providerId="LiveId" clId="{029BF6C7-7B87-4D8A-81F7-61D71B3C0A4C}" dt="2022-11-27T04:41:47.925" v="196" actId="1076"/>
          <ac:cxnSpMkLst>
            <pc:docMk/>
            <pc:sldMk cId="4202762094" sldId="257"/>
            <ac:cxnSpMk id="3189" creationId="{69B00398-AEFC-5396-BB04-254DBDA78547}"/>
          </ac:cxnSpMkLst>
        </pc:cxnChg>
      </pc:sldChg>
      <pc:sldChg chg="modSp mod">
        <pc:chgData name="홍 은주" userId="418a5682eae16732" providerId="LiveId" clId="{029BF6C7-7B87-4D8A-81F7-61D71B3C0A4C}" dt="2022-11-27T04:40:33.510" v="183" actId="1076"/>
        <pc:sldMkLst>
          <pc:docMk/>
          <pc:sldMk cId="424418358" sldId="258"/>
        </pc:sldMkLst>
        <pc:spChg chg="mod">
          <ac:chgData name="홍 은주" userId="418a5682eae16732" providerId="LiveId" clId="{029BF6C7-7B87-4D8A-81F7-61D71B3C0A4C}" dt="2022-11-27T04:40:33.510" v="183" actId="1076"/>
          <ac:spMkLst>
            <pc:docMk/>
            <pc:sldMk cId="424418358" sldId="258"/>
            <ac:spMk id="10" creationId="{999AC18C-E849-4954-B5A6-7A53854424B1}"/>
          </ac:spMkLst>
        </pc:spChg>
        <pc:grpChg chg="mod">
          <ac:chgData name="홍 은주" userId="418a5682eae16732" providerId="LiveId" clId="{029BF6C7-7B87-4D8A-81F7-61D71B3C0A4C}" dt="2022-11-27T04:40:33.510" v="183" actId="1076"/>
          <ac:grpSpMkLst>
            <pc:docMk/>
            <pc:sldMk cId="424418358" sldId="258"/>
            <ac:grpSpMk id="4161" creationId="{E00CA1F9-EF17-0B1B-A517-461320382122}"/>
          </ac:grpSpMkLst>
        </pc:grpChg>
      </pc:sldChg>
      <pc:sldChg chg="addSp delSp modSp mod">
        <pc:chgData name="홍 은주" userId="418a5682eae16732" providerId="LiveId" clId="{029BF6C7-7B87-4D8A-81F7-61D71B3C0A4C}" dt="2022-11-27T04:46:20.819" v="224" actId="20577"/>
        <pc:sldMkLst>
          <pc:docMk/>
          <pc:sldMk cId="3527299565" sldId="259"/>
        </pc:sldMkLst>
        <pc:spChg chg="del mod">
          <ac:chgData name="홍 은주" userId="418a5682eae16732" providerId="LiveId" clId="{029BF6C7-7B87-4D8A-81F7-61D71B3C0A4C}" dt="2022-11-27T04:25:55.113" v="19" actId="21"/>
          <ac:spMkLst>
            <pc:docMk/>
            <pc:sldMk cId="3527299565" sldId="259"/>
            <ac:spMk id="2" creationId="{D971D01F-D84C-7586-1812-26F8AABBAA9C}"/>
          </ac:spMkLst>
        </pc:spChg>
        <pc:spChg chg="add del mod">
          <ac:chgData name="홍 은주" userId="418a5682eae16732" providerId="LiveId" clId="{029BF6C7-7B87-4D8A-81F7-61D71B3C0A4C}" dt="2022-11-27T04:25:22.365" v="15"/>
          <ac:spMkLst>
            <pc:docMk/>
            <pc:sldMk cId="3527299565" sldId="259"/>
            <ac:spMk id="3" creationId="{42E02DC3-F0CA-B8DA-F482-26818773C34D}"/>
          </ac:spMkLst>
        </pc:spChg>
        <pc:spChg chg="add mod">
          <ac:chgData name="홍 은주" userId="418a5682eae16732" providerId="LiveId" clId="{029BF6C7-7B87-4D8A-81F7-61D71B3C0A4C}" dt="2022-11-27T04:26:58.245" v="67" actId="1076"/>
          <ac:spMkLst>
            <pc:docMk/>
            <pc:sldMk cId="3527299565" sldId="259"/>
            <ac:spMk id="4" creationId="{0551EA58-1CBE-E2E2-E9A3-F5CBD92CAD75}"/>
          </ac:spMkLst>
        </pc:spChg>
        <pc:spChg chg="add mod">
          <ac:chgData name="홍 은주" userId="418a5682eae16732" providerId="LiveId" clId="{029BF6C7-7B87-4D8A-81F7-61D71B3C0A4C}" dt="2022-11-27T04:27:11.354" v="69" actId="1076"/>
          <ac:spMkLst>
            <pc:docMk/>
            <pc:sldMk cId="3527299565" sldId="259"/>
            <ac:spMk id="5" creationId="{811FF7F8-64FD-6B7A-24A8-009B59812410}"/>
          </ac:spMkLst>
        </pc:spChg>
        <pc:spChg chg="add mod">
          <ac:chgData name="홍 은주" userId="418a5682eae16732" providerId="LiveId" clId="{029BF6C7-7B87-4D8A-81F7-61D71B3C0A4C}" dt="2022-11-27T04:46:20.819" v="224" actId="20577"/>
          <ac:spMkLst>
            <pc:docMk/>
            <pc:sldMk cId="3527299565" sldId="259"/>
            <ac:spMk id="6" creationId="{AE7E0D7F-8C8B-2B1C-990B-6B88E84DFC00}"/>
          </ac:spMkLst>
        </pc:spChg>
        <pc:grpChg chg="mod">
          <ac:chgData name="홍 은주" userId="418a5682eae16732" providerId="LiveId" clId="{029BF6C7-7B87-4D8A-81F7-61D71B3C0A4C}" dt="2022-11-27T04:26:58.245" v="67" actId="1076"/>
          <ac:grpSpMkLst>
            <pc:docMk/>
            <pc:sldMk cId="3527299565" sldId="259"/>
            <ac:grpSpMk id="177" creationId="{9661CD0C-6229-70A1-5D12-623A070C4F91}"/>
          </ac:grpSpMkLst>
        </pc:grpChg>
        <pc:grpChg chg="mod">
          <ac:chgData name="홍 은주" userId="418a5682eae16732" providerId="LiveId" clId="{029BF6C7-7B87-4D8A-81F7-61D71B3C0A4C}" dt="2022-11-27T04:26:39.864" v="65" actId="1076"/>
          <ac:grpSpMkLst>
            <pc:docMk/>
            <pc:sldMk cId="3527299565" sldId="259"/>
            <ac:grpSpMk id="191" creationId="{1D207085-830A-EFC1-94EF-3E5175AC3DBF}"/>
          </ac:grpSpMkLst>
        </pc:grpChg>
        <pc:grpChg chg="mod">
          <ac:chgData name="홍 은주" userId="418a5682eae16732" providerId="LiveId" clId="{029BF6C7-7B87-4D8A-81F7-61D71B3C0A4C}" dt="2022-11-27T04:26:49.404" v="66" actId="1076"/>
          <ac:grpSpMkLst>
            <pc:docMk/>
            <pc:sldMk cId="3527299565" sldId="259"/>
            <ac:grpSpMk id="192" creationId="{49257CD8-DAEA-45E2-973C-056B07E0EEB6}"/>
          </ac:grpSpMkLst>
        </pc:grpChg>
        <pc:picChg chg="mod">
          <ac:chgData name="홍 은주" userId="418a5682eae16732" providerId="LiveId" clId="{029BF6C7-7B87-4D8A-81F7-61D71B3C0A4C}" dt="2022-11-27T04:26:33.662" v="62" actId="1076"/>
          <ac:picMkLst>
            <pc:docMk/>
            <pc:sldMk cId="3527299565" sldId="259"/>
            <ac:picMk id="194" creationId="{CF02F181-C7B5-3966-CBBD-C1F4381BC1E0}"/>
          </ac:picMkLst>
        </pc:picChg>
      </pc:sldChg>
      <pc:sldChg chg="modSp mod">
        <pc:chgData name="홍 은주" userId="418a5682eae16732" providerId="LiveId" clId="{029BF6C7-7B87-4D8A-81F7-61D71B3C0A4C}" dt="2022-11-27T04:42:37.816" v="200" actId="2711"/>
        <pc:sldMkLst>
          <pc:docMk/>
          <pc:sldMk cId="3398830570" sldId="267"/>
        </pc:sldMkLst>
        <pc:spChg chg="mod">
          <ac:chgData name="홍 은주" userId="418a5682eae16732" providerId="LiveId" clId="{029BF6C7-7B87-4D8A-81F7-61D71B3C0A4C}" dt="2022-11-27T04:42:37.816" v="200" actId="2711"/>
          <ac:spMkLst>
            <pc:docMk/>
            <pc:sldMk cId="3398830570" sldId="267"/>
            <ac:spMk id="6" creationId="{A671BDED-9331-4977-AE2A-34820094404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081165-D7CC-4114-9AEA-BA9A3883B4AF}" type="datetimeFigureOut">
              <a:rPr lang="en-US" smtClean="0"/>
              <a:t>11/2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89F812-2989-4AC2-9550-F5B672FA74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0887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tjevans?utm_source=unsplash&amp;utm_medium=referral&amp;utm_content=creditCopyText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ank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stshem?utm_source=unsplash&amp;utm_medium=referral&amp;utm_content=creditCopyText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?utm_source=unsplash&amp;utm_medium=referral&amp;utm_content=creditCopyText" TargetMode="Externa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frrn?utm_source=unsplash&amp;utm_medium=referral&amp;utm_content=creditCopyText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ank?utm_source=unsplash&amp;utm_medium=referral&amp;utm_content=creditCopyText" TargetMode="Externa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coffee'&gt;Coffee photo created by </a:t>
            </a:r>
            <a:r>
              <a:rPr lang="en-US" dirty="0" err="1"/>
              <a:t>jcomp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5112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coffee'&gt;Coffee photo created by </a:t>
            </a:r>
            <a:r>
              <a:rPr lang="en-US" dirty="0" err="1"/>
              <a:t>jcomp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888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business-card'&gt;Business card photo created by rawpixel.com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8199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Tim Evans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4657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coffee'&gt;Coffee photo created by </a:t>
            </a:r>
            <a:r>
              <a:rPr lang="en-US" dirty="0" err="1"/>
              <a:t>jcomp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1653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 err="1">
                <a:hlinkClick r:id="rId3"/>
              </a:rPr>
              <a:t>Anastasiia</a:t>
            </a:r>
            <a:r>
              <a:rPr lang="en-US" dirty="0">
                <a:hlinkClick r:id="rId3"/>
              </a:rPr>
              <a:t> </a:t>
            </a:r>
            <a:r>
              <a:rPr lang="en-US" dirty="0" err="1">
                <a:hlinkClick r:id="rId3"/>
              </a:rPr>
              <a:t>Ostapovych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98669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6336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 err="1">
                <a:hlinkClick r:id="rId3"/>
              </a:rPr>
              <a:t>Ferran</a:t>
            </a:r>
            <a:r>
              <a:rPr lang="en-US" dirty="0">
                <a:hlinkClick r:id="rId3"/>
              </a:rPr>
              <a:t> </a:t>
            </a:r>
            <a:r>
              <a:rPr lang="en-US" dirty="0" err="1">
                <a:hlinkClick r:id="rId3"/>
              </a:rPr>
              <a:t>Fusalba</a:t>
            </a:r>
            <a:r>
              <a:rPr lang="en-US" dirty="0">
                <a:hlinkClick r:id="rId3"/>
              </a:rPr>
              <a:t> </a:t>
            </a:r>
            <a:r>
              <a:rPr lang="en-US" dirty="0" err="1">
                <a:hlinkClick r:id="rId3"/>
              </a:rPr>
              <a:t>Roselló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8218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coffee'&gt;Coffee photo created by </a:t>
            </a:r>
            <a:r>
              <a:rPr lang="en-US" dirty="0" err="1"/>
              <a:t>jcomp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0054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coffee'&gt;Coffee photo created by </a:t>
            </a:r>
            <a:r>
              <a:rPr lang="en-US" dirty="0" err="1"/>
              <a:t>jcomp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4876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1BE2CB-927E-4ECA-A119-454FF0E510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6707F5D-E9A0-4285-87E8-812FCADD7B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237A60-CFF9-48B6-BF9B-62E74659A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1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162D13-DE68-4BBC-8E1A-ECA63044F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6C8BED-487E-4C3B-8BED-9E2E7E9EC1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1191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FC7D00-370F-4C54-BEAC-D77B3AECF7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DB476DB-A6E1-4589-A1E6-035048CA42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F4001A-5F3B-4FE4-A795-3B09BBE87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1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5069EB-DB39-4C97-ADCA-138C8EBBEB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197B06-CE87-453E-B691-BB6461B5E7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911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A9998C-3BDA-43D4-991D-6CFBD91CF1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32BACDC-4851-4B7A-BF29-BB5E68CCF9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CB8E39-8428-44EE-A046-3D48C86490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1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0D6251-7B74-4A7B-AFD0-1C5F40120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697550-297B-4E00-B3AF-38816412A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2529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86ECE3-2645-4BAA-83C6-EBB973F5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97DD8A-AA9D-4746-A3FC-42FE7D88E3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47E522-C4D4-430C-8FBF-B78769A260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1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6E5A2E-6573-46A5-B5F8-BD6277988B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D36C4-049A-43F2-9676-C014FB3FBE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18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659F1E-8E87-4F34-B677-536FEEAA36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F156A6-87A3-405A-8D9F-277DE5D883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7935AD-1F2B-465A-9CF0-28AB9560A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1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6B5AB1-B975-4EEF-BD4F-8D741A718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89726C-1C4E-4A4F-BA30-B686EE4B71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95111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EB9C53-5568-4415-9448-FD8221E48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AC2FC3-E11E-469E-8BC2-B3572576C0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F7E116-F30B-473F-8FF7-C2672188AB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29B51B2-51B4-445C-AB4F-4051967BF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11/2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A8085E-EBB6-4021-A018-FB6DE2F2BC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67048F-480D-42AD-84B1-0CB0294CE0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606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96703-5F20-430E-83DD-CF0FA7AC7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4B1176-7076-414F-82AF-A22A1DF27A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0AD683-91A7-4FA3-8CFE-B69A971D83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169756-36AA-4408-A350-6091FFEB040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F01C064-CEA4-435E-8245-BAA43B40D40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64A1F18-02DD-4276-8F7F-4D18C444F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11/27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00FCCE2-D7E5-443D-B5D4-ABEF547F4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B2661B0-13BF-4412-BE11-DEA73A17F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4088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8CAA0B-E352-47D4-995E-AF28E2C358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623314-E463-41E2-98F5-A1CEA54B8D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11/27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FFE04-4A73-4A75-BD6E-4AF3C8BAE6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4905C2-8630-457B-BC2D-CE20C208A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4397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1BCC47-EDBE-4B21-92F5-86F6443222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11/27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AF4F7A-8564-48FE-8B6C-6C609332E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E615B8-7F62-4C6C-BBA0-CF68683993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5841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8DA5BA-4DCF-4620-857B-5720B1769D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E06997-A92F-4C83-AB8D-417741D770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E82559-5E68-421E-8EF0-87BD6C1306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AE955CB-9C1C-4BCE-A077-AB772D368B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11/2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FEC6FE-97F3-41C7-9E30-708583715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E040D0-51C5-429B-810D-D631A5CC3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8686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1B98B-9F25-4753-87F4-21C342C687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FE7F2B-643F-4AA7-8370-5C7086D0DDF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431502-E7A0-4441-9B15-55FADD9B87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CF0080-7AF8-4DE6-A3CE-AB23461177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11/2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F5A7C9-68F1-41B3-BA02-DEBF535D5B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B80D7B-6012-4DBB-B317-CD9EDACE7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4667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9210B78-E646-4F72-A11C-7D9EB35C9F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82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83" imgH="384" progId="TCLayout.ActiveDocument.1">
                  <p:embed/>
                </p:oleObj>
              </mc:Choice>
              <mc:Fallback>
                <p:oleObj name="think-cell Slide" r:id="rId14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9210B78-E646-4F72-A11C-7D9EB35C9F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38C4BB2-4A95-4E4F-9698-B1397883C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09A3F2-C53C-41CA-8076-D83B5A5D11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135310-5DAF-461F-8684-B97F73D133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D6AC30-AA56-4AB3-A866-C9468BDABC33}" type="datetimeFigureOut">
              <a:rPr lang="en-US" smtClean="0"/>
              <a:t>1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C6FE24-00FE-4015-8546-DA1E145F94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43A640-4814-441A-9CA3-D424EBCB30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217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7368" userDrawn="1">
          <p15:clr>
            <a:srgbClr val="F26B43"/>
          </p15:clr>
        </p15:guide>
        <p15:guide id="4" pos="3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13" Type="http://schemas.openxmlformats.org/officeDocument/2006/relationships/image" Target="../media/image3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3.png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11" Type="http://schemas.openxmlformats.org/officeDocument/2006/relationships/image" Target="../media/image9.jp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12.jpg"/><Relationship Id="rId10" Type="http://schemas.openxmlformats.org/officeDocument/2006/relationships/image" Target="../media/image8.jpg"/><Relationship Id="rId4" Type="http://schemas.openxmlformats.org/officeDocument/2006/relationships/image" Target="../media/image4.jpg"/><Relationship Id="rId9" Type="http://schemas.openxmlformats.org/officeDocument/2006/relationships/image" Target="../media/image7.jpg"/><Relationship Id="rId14" Type="http://schemas.openxmlformats.org/officeDocument/2006/relationships/image" Target="../media/image11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14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7.png"/><Relationship Id="rId12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11" Type="http://schemas.openxmlformats.org/officeDocument/2006/relationships/image" Target="../media/image20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3.png"/><Relationship Id="rId4" Type="http://schemas.openxmlformats.org/officeDocument/2006/relationships/image" Target="../media/image16.jpeg"/><Relationship Id="rId9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11" Type="http://schemas.openxmlformats.org/officeDocument/2006/relationships/image" Target="../media/image3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26.png"/><Relationship Id="rId4" Type="http://schemas.openxmlformats.org/officeDocument/2006/relationships/image" Target="../media/image22.jpeg"/><Relationship Id="rId9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8.png"/><Relationship Id="rId12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11" Type="http://schemas.openxmlformats.org/officeDocument/2006/relationships/image" Target="../media/image31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30.jpg"/><Relationship Id="rId4" Type="http://schemas.openxmlformats.org/officeDocument/2006/relationships/image" Target="../media/image27.png"/><Relationship Id="rId9" Type="http://schemas.openxmlformats.org/officeDocument/2006/relationships/image" Target="../media/image29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3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3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EDF4D42-DF76-4E5E-95B2-3C38796B60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3453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EDF4D42-DF76-4E5E-95B2-3C38796B60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그림 4" descr="텍스트, 사람, 실외이(가) 표시된 사진&#10;&#10;자동 생성된 설명">
            <a:extLst>
              <a:ext uri="{FF2B5EF4-FFF2-40B4-BE49-F238E27FC236}">
                <a16:creationId xmlns:a16="http://schemas.microsoft.com/office/drawing/2014/main" id="{DF074355-9B53-59B3-3F04-6C12FFE7D67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4" t="14757" b="17894"/>
          <a:stretch/>
        </p:blipFill>
        <p:spPr>
          <a:xfrm>
            <a:off x="0" y="-66366"/>
            <a:ext cx="12192000" cy="533809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249C0BE-DA64-4358-845F-0DA8776B432B}"/>
              </a:ext>
            </a:extLst>
          </p:cNvPr>
          <p:cNvSpPr/>
          <p:nvPr/>
        </p:nvSpPr>
        <p:spPr>
          <a:xfrm>
            <a:off x="0" y="-51265"/>
            <a:ext cx="12192000" cy="5330451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7" name="Title 3">
            <a:extLst>
              <a:ext uri="{FF2B5EF4-FFF2-40B4-BE49-F238E27FC236}">
                <a16:creationId xmlns:a16="http://schemas.microsoft.com/office/drawing/2014/main" id="{9B557F9A-0C3C-49F0-9227-71033CB7EA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876" y="2185240"/>
            <a:ext cx="5452900" cy="2528175"/>
          </a:xfrm>
        </p:spPr>
        <p:txBody>
          <a:bodyPr vert="horz">
            <a:normAutofit/>
          </a:bodyPr>
          <a:lstStyle/>
          <a:p>
            <a:pPr algn="l"/>
            <a:r>
              <a:rPr lang="en-US" sz="6600" dirty="0">
                <a:solidFill>
                  <a:schemeClr val="bg1"/>
                </a:solidFill>
                <a:latin typeface="Arial Black" panose="020B0A04020102020204" pitchFamily="34" charset="0"/>
                <a:ea typeface="HY견고딕" panose="02030600000101010101" pitchFamily="18" charset="-127"/>
                <a:cs typeface="Segoe UI" panose="020B0502040204020203" pitchFamily="34" charset="0"/>
              </a:rPr>
              <a:t>NO</a:t>
            </a:r>
            <a:br>
              <a:rPr lang="en-US" sz="6600" dirty="0">
                <a:solidFill>
                  <a:schemeClr val="bg1"/>
                </a:solidFill>
                <a:latin typeface="Arial Black" panose="020B0A04020102020204" pitchFamily="34" charset="0"/>
                <a:ea typeface="HY견고딕" panose="02030600000101010101" pitchFamily="18" charset="-127"/>
                <a:cs typeface="Segoe UI" panose="020B0502040204020203" pitchFamily="34" charset="0"/>
              </a:rPr>
            </a:br>
            <a:r>
              <a:rPr lang="en-US" altLang="ko-KR" sz="6600" dirty="0">
                <a:solidFill>
                  <a:schemeClr val="bg1"/>
                </a:solidFill>
                <a:latin typeface="Arial Black" panose="020B0A04020102020204" pitchFamily="34" charset="0"/>
                <a:ea typeface="HY견고딕" panose="02030600000101010101" pitchFamily="18" charset="-127"/>
                <a:cs typeface="Segoe UI" panose="020B0502040204020203" pitchFamily="34" charset="0"/>
              </a:rPr>
              <a:t>TROUBLE</a:t>
            </a:r>
            <a:endParaRPr lang="en-US" sz="6600" dirty="0">
              <a:solidFill>
                <a:schemeClr val="bg1"/>
              </a:solidFill>
              <a:latin typeface="Arial Black" panose="020B0A04020102020204" pitchFamily="34" charset="0"/>
              <a:ea typeface="HY견고딕" panose="02030600000101010101" pitchFamily="18" charset="-127"/>
              <a:cs typeface="Segoe UI" panose="020B0502040204020203" pitchFamily="34" charset="0"/>
            </a:endParaRPr>
          </a:p>
        </p:txBody>
      </p:sp>
      <p:sp>
        <p:nvSpPr>
          <p:cNvPr id="131" name="Rectangle: Rounded Corners 130">
            <a:extLst>
              <a:ext uri="{FF2B5EF4-FFF2-40B4-BE49-F238E27FC236}">
                <a16:creationId xmlns:a16="http://schemas.microsoft.com/office/drawing/2014/main" id="{5CF1DFDE-F088-4A9E-B1A9-A7E124941399}"/>
              </a:ext>
            </a:extLst>
          </p:cNvPr>
          <p:cNvSpPr/>
          <p:nvPr/>
        </p:nvSpPr>
        <p:spPr>
          <a:xfrm>
            <a:off x="643100" y="4918550"/>
            <a:ext cx="2608262" cy="66432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빨리끝내조</a:t>
            </a:r>
            <a:endParaRPr lang="en-US" sz="28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191" name="그룹 190">
            <a:extLst>
              <a:ext uri="{FF2B5EF4-FFF2-40B4-BE49-F238E27FC236}">
                <a16:creationId xmlns:a16="http://schemas.microsoft.com/office/drawing/2014/main" id="{55698FF4-9ED8-408B-61E7-1F797448ACF6}"/>
              </a:ext>
            </a:extLst>
          </p:cNvPr>
          <p:cNvGrpSpPr/>
          <p:nvPr/>
        </p:nvGrpSpPr>
        <p:grpSpPr>
          <a:xfrm>
            <a:off x="6413760" y="594656"/>
            <a:ext cx="3931651" cy="5948634"/>
            <a:chOff x="4337640" y="463715"/>
            <a:chExt cx="3931651" cy="5948634"/>
          </a:xfrm>
        </p:grpSpPr>
        <p:grpSp>
          <p:nvGrpSpPr>
            <p:cNvPr id="189" name="그룹 188">
              <a:extLst>
                <a:ext uri="{FF2B5EF4-FFF2-40B4-BE49-F238E27FC236}">
                  <a16:creationId xmlns:a16="http://schemas.microsoft.com/office/drawing/2014/main" id="{B91EDF81-245F-2986-21FD-1AF4162F3245}"/>
                </a:ext>
              </a:extLst>
            </p:cNvPr>
            <p:cNvGrpSpPr/>
            <p:nvPr/>
          </p:nvGrpSpPr>
          <p:grpSpPr>
            <a:xfrm>
              <a:off x="5008612" y="650313"/>
              <a:ext cx="2561481" cy="5429250"/>
              <a:chOff x="5008612" y="650313"/>
              <a:chExt cx="2561481" cy="5429250"/>
            </a:xfrm>
          </p:grpSpPr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D5D21345-C01D-4D8F-A34B-EB897DF413ED}"/>
                  </a:ext>
                </a:extLst>
              </p:cNvPr>
              <p:cNvGrpSpPr/>
              <p:nvPr/>
            </p:nvGrpSpPr>
            <p:grpSpPr>
              <a:xfrm>
                <a:off x="5008612" y="650313"/>
                <a:ext cx="2561481" cy="5429250"/>
                <a:chOff x="5220361" y="638174"/>
                <a:chExt cx="2561481" cy="5429250"/>
              </a:xfrm>
            </p:grpSpPr>
            <p:grpSp>
              <p:nvGrpSpPr>
                <p:cNvPr id="101" name="Group 100">
                  <a:extLst>
                    <a:ext uri="{FF2B5EF4-FFF2-40B4-BE49-F238E27FC236}">
                      <a16:creationId xmlns:a16="http://schemas.microsoft.com/office/drawing/2014/main" id="{33D46B08-C6FE-4D9F-930C-6E573B7AE755}"/>
                    </a:ext>
                  </a:extLst>
                </p:cNvPr>
                <p:cNvGrpSpPr/>
                <p:nvPr/>
              </p:nvGrpSpPr>
              <p:grpSpPr>
                <a:xfrm>
                  <a:off x="5220361" y="638174"/>
                  <a:ext cx="2561481" cy="5429250"/>
                  <a:chOff x="5220361" y="638174"/>
                  <a:chExt cx="2561481" cy="5429250"/>
                </a:xfrm>
              </p:grpSpPr>
              <p:sp>
                <p:nvSpPr>
                  <p:cNvPr id="95" name="Rectangle: Rounded Corners 94">
                    <a:extLst>
                      <a:ext uri="{FF2B5EF4-FFF2-40B4-BE49-F238E27FC236}">
                        <a16:creationId xmlns:a16="http://schemas.microsoft.com/office/drawing/2014/main" id="{D1DB6AC5-19C4-4B6D-900E-DA45101F077A}"/>
                      </a:ext>
                    </a:extLst>
                  </p:cNvPr>
                  <p:cNvSpPr/>
                  <p:nvPr/>
                </p:nvSpPr>
                <p:spPr>
                  <a:xfrm>
                    <a:off x="5220361" y="638174"/>
                    <a:ext cx="2561481" cy="5429250"/>
                  </a:xfrm>
                  <a:prstGeom prst="roundRect">
                    <a:avLst>
                      <a:gd name="adj" fmla="val 7098"/>
                    </a:avLst>
                  </a:prstGeom>
                  <a:gradFill>
                    <a:gsLst>
                      <a:gs pos="100000">
                        <a:srgbClr val="4757B8"/>
                      </a:gs>
                      <a:gs pos="38000">
                        <a:srgbClr val="7983D7"/>
                      </a:gs>
                    </a:gsLst>
                    <a:lin ang="8100000" scaled="1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0" name="Freeform: Shape 99">
                    <a:extLst>
                      <a:ext uri="{FF2B5EF4-FFF2-40B4-BE49-F238E27FC236}">
                        <a16:creationId xmlns:a16="http://schemas.microsoft.com/office/drawing/2014/main" id="{03FF6A9A-2AF0-4DDF-8672-EAEB41C273DB}"/>
                      </a:ext>
                    </a:extLst>
                  </p:cNvPr>
                  <p:cNvSpPr/>
                  <p:nvPr/>
                </p:nvSpPr>
                <p:spPr>
                  <a:xfrm>
                    <a:off x="5220361" y="656677"/>
                    <a:ext cx="2561481" cy="5405917"/>
                  </a:xfrm>
                  <a:custGeom>
                    <a:avLst/>
                    <a:gdLst>
                      <a:gd name="connsiteX0" fmla="*/ 2463852 w 2561481"/>
                      <a:gd name="connsiteY0" fmla="*/ 0 h 5405917"/>
                      <a:gd name="connsiteX1" fmla="*/ 2508229 w 2561481"/>
                      <a:gd name="connsiteY1" fmla="*/ 29919 h 5405917"/>
                      <a:gd name="connsiteX2" fmla="*/ 2561481 w 2561481"/>
                      <a:gd name="connsiteY2" fmla="*/ 158481 h 5405917"/>
                      <a:gd name="connsiteX3" fmla="*/ 2561481 w 2561481"/>
                      <a:gd name="connsiteY3" fmla="*/ 5224103 h 5405917"/>
                      <a:gd name="connsiteX4" fmla="*/ 2379667 w 2561481"/>
                      <a:gd name="connsiteY4" fmla="*/ 5405917 h 5405917"/>
                      <a:gd name="connsiteX5" fmla="*/ 181814 w 2561481"/>
                      <a:gd name="connsiteY5" fmla="*/ 5405917 h 5405917"/>
                      <a:gd name="connsiteX6" fmla="*/ 0 w 2561481"/>
                      <a:gd name="connsiteY6" fmla="*/ 5224103 h 5405917"/>
                      <a:gd name="connsiteX7" fmla="*/ 0 w 2561481"/>
                      <a:gd name="connsiteY7" fmla="*/ 5219587 h 54059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561481" h="5405917">
                        <a:moveTo>
                          <a:pt x="2463852" y="0"/>
                        </a:moveTo>
                        <a:lnTo>
                          <a:pt x="2508229" y="29919"/>
                        </a:lnTo>
                        <a:cubicBezTo>
                          <a:pt x="2541131" y="62821"/>
                          <a:pt x="2561481" y="108275"/>
                          <a:pt x="2561481" y="158481"/>
                        </a:cubicBezTo>
                        <a:lnTo>
                          <a:pt x="2561481" y="5224103"/>
                        </a:lnTo>
                        <a:cubicBezTo>
                          <a:pt x="2561481" y="5324516"/>
                          <a:pt x="2480080" y="5405917"/>
                          <a:pt x="2379667" y="5405917"/>
                        </a:cubicBezTo>
                        <a:lnTo>
                          <a:pt x="181814" y="5405917"/>
                        </a:lnTo>
                        <a:cubicBezTo>
                          <a:pt x="81401" y="5405917"/>
                          <a:pt x="0" y="5324516"/>
                          <a:pt x="0" y="5224103"/>
                        </a:cubicBezTo>
                        <a:lnTo>
                          <a:pt x="0" y="5219587"/>
                        </a:lnTo>
                        <a:close/>
                      </a:path>
                    </a:pathLst>
                  </a:custGeom>
                  <a:solidFill>
                    <a:schemeClr val="bg1">
                      <a:alpha val="1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 dirty="0"/>
                  </a:p>
                </p:txBody>
              </p:sp>
            </p:grpSp>
            <p:sp>
              <p:nvSpPr>
                <p:cNvPr id="102" name="Oval 101">
                  <a:extLst>
                    <a:ext uri="{FF2B5EF4-FFF2-40B4-BE49-F238E27FC236}">
                      <a16:creationId xmlns:a16="http://schemas.microsoft.com/office/drawing/2014/main" id="{50339616-E833-43C3-9D19-5D259E69FB67}"/>
                    </a:ext>
                  </a:extLst>
                </p:cNvPr>
                <p:cNvSpPr/>
                <p:nvPr/>
              </p:nvSpPr>
              <p:spPr>
                <a:xfrm>
                  <a:off x="6092328" y="2944026"/>
                  <a:ext cx="817546" cy="817546"/>
                </a:xfrm>
                <a:prstGeom prst="ellipse">
                  <a:avLst/>
                </a:prstGeom>
                <a:solidFill>
                  <a:srgbClr val="EBECF9"/>
                </a:solidFill>
                <a:ln>
                  <a:noFill/>
                </a:ln>
                <a:effectLst>
                  <a:outerShdw blurRad="50800" dist="38100" dir="2700000" algn="tl" rotWithShape="0">
                    <a:srgbClr val="4757B8">
                      <a:alpha val="40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88" name="두루마리 모양: 가로로 말림 187">
                <a:extLst>
                  <a:ext uri="{FF2B5EF4-FFF2-40B4-BE49-F238E27FC236}">
                    <a16:creationId xmlns:a16="http://schemas.microsoft.com/office/drawing/2014/main" id="{A01D8958-C885-FC91-F350-1952707F1CC1}"/>
                  </a:ext>
                </a:extLst>
              </p:cNvPr>
              <p:cNvSpPr/>
              <p:nvPr/>
            </p:nvSpPr>
            <p:spPr>
              <a:xfrm>
                <a:off x="6060250" y="3172616"/>
                <a:ext cx="458203" cy="414215"/>
              </a:xfrm>
              <a:prstGeom prst="horizontalScroll">
                <a:avLst/>
              </a:prstGeom>
              <a:solidFill>
                <a:srgbClr val="8790D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4C480F6C-BECA-4763-A6F0-2DEBE4D1F40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37640" y="463715"/>
              <a:ext cx="3931651" cy="5948634"/>
            </a:xfrm>
            <a:prstGeom prst="rect">
              <a:avLst/>
            </a:prstGeom>
          </p:spPr>
        </p:pic>
      </p:grpSp>
      <p:grpSp>
        <p:nvGrpSpPr>
          <p:cNvPr id="192" name="그룹 191">
            <a:extLst>
              <a:ext uri="{FF2B5EF4-FFF2-40B4-BE49-F238E27FC236}">
                <a16:creationId xmlns:a16="http://schemas.microsoft.com/office/drawing/2014/main" id="{0B90DD51-C5D7-DC4D-E80B-75915F5D2A92}"/>
              </a:ext>
            </a:extLst>
          </p:cNvPr>
          <p:cNvGrpSpPr/>
          <p:nvPr/>
        </p:nvGrpSpPr>
        <p:grpSpPr>
          <a:xfrm>
            <a:off x="7876990" y="594656"/>
            <a:ext cx="3931651" cy="5948634"/>
            <a:chOff x="7876990" y="594656"/>
            <a:chExt cx="3931651" cy="5948634"/>
          </a:xfrm>
        </p:grpSpPr>
        <p:sp>
          <p:nvSpPr>
            <p:cNvPr id="149" name="Rectangle: Rounded Corners 148">
              <a:extLst>
                <a:ext uri="{FF2B5EF4-FFF2-40B4-BE49-F238E27FC236}">
                  <a16:creationId xmlns:a16="http://schemas.microsoft.com/office/drawing/2014/main" id="{21C08789-1FE0-4C0B-A7F1-8EA6FF7064A4}"/>
                </a:ext>
              </a:extLst>
            </p:cNvPr>
            <p:cNvSpPr/>
            <p:nvPr/>
          </p:nvSpPr>
          <p:spPr>
            <a:xfrm>
              <a:off x="8553532" y="753324"/>
              <a:ext cx="2561481" cy="5429250"/>
            </a:xfrm>
            <a:prstGeom prst="roundRect">
              <a:avLst>
                <a:gd name="adj" fmla="val 7098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9" name="그룹 68">
              <a:extLst>
                <a:ext uri="{FF2B5EF4-FFF2-40B4-BE49-F238E27FC236}">
                  <a16:creationId xmlns:a16="http://schemas.microsoft.com/office/drawing/2014/main" id="{17C7BBB0-00A6-55D0-2F9A-88D8E86EF30F}"/>
                </a:ext>
              </a:extLst>
            </p:cNvPr>
            <p:cNvGrpSpPr/>
            <p:nvPr/>
          </p:nvGrpSpPr>
          <p:grpSpPr>
            <a:xfrm>
              <a:off x="10480050" y="1552763"/>
              <a:ext cx="636241" cy="914400"/>
              <a:chOff x="5109736" y="3501498"/>
              <a:chExt cx="636241" cy="914400"/>
            </a:xfrm>
            <a:solidFill>
              <a:schemeClr val="bg2">
                <a:lumMod val="90000"/>
              </a:schemeClr>
            </a:solidFill>
          </p:grpSpPr>
          <p:sp>
            <p:nvSpPr>
              <p:cNvPr id="66" name="사각형: 둥근 모서리 65">
                <a:extLst>
                  <a:ext uri="{FF2B5EF4-FFF2-40B4-BE49-F238E27FC236}">
                    <a16:creationId xmlns:a16="http://schemas.microsoft.com/office/drawing/2014/main" id="{E3BFD8EB-116E-72BF-6F49-E5F4ED474DA8}"/>
                  </a:ext>
                </a:extLst>
              </p:cNvPr>
              <p:cNvSpPr/>
              <p:nvPr/>
            </p:nvSpPr>
            <p:spPr>
              <a:xfrm>
                <a:off x="5109736" y="3501498"/>
                <a:ext cx="634963" cy="91440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68" name="직사각형 67">
                <a:extLst>
                  <a:ext uri="{FF2B5EF4-FFF2-40B4-BE49-F238E27FC236}">
                    <a16:creationId xmlns:a16="http://schemas.microsoft.com/office/drawing/2014/main" id="{6A5A398B-8FFD-F3CE-7ECA-6D6755260038}"/>
                  </a:ext>
                </a:extLst>
              </p:cNvPr>
              <p:cNvSpPr/>
              <p:nvPr/>
            </p:nvSpPr>
            <p:spPr>
              <a:xfrm>
                <a:off x="5429997" y="4182260"/>
                <a:ext cx="315980" cy="23363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150" name="Rectangle: Top Corners Rounded 149">
              <a:extLst>
                <a:ext uri="{FF2B5EF4-FFF2-40B4-BE49-F238E27FC236}">
                  <a16:creationId xmlns:a16="http://schemas.microsoft.com/office/drawing/2014/main" id="{A91DAAC5-ADEA-40A1-83FE-4996CD9D9BCF}"/>
                </a:ext>
              </a:extLst>
            </p:cNvPr>
            <p:cNvSpPr/>
            <p:nvPr/>
          </p:nvSpPr>
          <p:spPr>
            <a:xfrm>
              <a:off x="8553532" y="753323"/>
              <a:ext cx="2561481" cy="1085851"/>
            </a:xfrm>
            <a:prstGeom prst="round2SameRect">
              <a:avLst>
                <a:gd name="adj1" fmla="val 16667"/>
                <a:gd name="adj2" fmla="val 20175"/>
              </a:avLst>
            </a:prstGeom>
            <a:gradFill>
              <a:gsLst>
                <a:gs pos="100000">
                  <a:srgbClr val="4757B8"/>
                </a:gs>
                <a:gs pos="38000">
                  <a:srgbClr val="7983D7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7" name="그룹 26">
              <a:extLst>
                <a:ext uri="{FF2B5EF4-FFF2-40B4-BE49-F238E27FC236}">
                  <a16:creationId xmlns:a16="http://schemas.microsoft.com/office/drawing/2014/main" id="{14B23D1C-1781-9CDA-E422-1D4A4504DF55}"/>
                </a:ext>
              </a:extLst>
            </p:cNvPr>
            <p:cNvGrpSpPr/>
            <p:nvPr/>
          </p:nvGrpSpPr>
          <p:grpSpPr>
            <a:xfrm>
              <a:off x="9629681" y="1083650"/>
              <a:ext cx="1095948" cy="425196"/>
              <a:chOff x="3906460" y="3038948"/>
              <a:chExt cx="1095948" cy="425196"/>
            </a:xfrm>
          </p:grpSpPr>
          <p:sp>
            <p:nvSpPr>
              <p:cNvPr id="11" name="타원 10">
                <a:extLst>
                  <a:ext uri="{FF2B5EF4-FFF2-40B4-BE49-F238E27FC236}">
                    <a16:creationId xmlns:a16="http://schemas.microsoft.com/office/drawing/2014/main" id="{8897603A-1166-DDE3-FCE3-DCF79A037049}"/>
                  </a:ext>
                </a:extLst>
              </p:cNvPr>
              <p:cNvSpPr/>
              <p:nvPr/>
            </p:nvSpPr>
            <p:spPr>
              <a:xfrm flipH="1" flipV="1">
                <a:off x="4946037" y="3071043"/>
                <a:ext cx="45719" cy="4571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5" name="타원 14">
                <a:extLst>
                  <a:ext uri="{FF2B5EF4-FFF2-40B4-BE49-F238E27FC236}">
                    <a16:creationId xmlns:a16="http://schemas.microsoft.com/office/drawing/2014/main" id="{D656C9F9-6F77-5F90-DEE2-2F4D9E2D7798}"/>
                  </a:ext>
                </a:extLst>
              </p:cNvPr>
              <p:cNvSpPr/>
              <p:nvPr/>
            </p:nvSpPr>
            <p:spPr>
              <a:xfrm flipH="1" flipV="1">
                <a:off x="4947645" y="3232925"/>
                <a:ext cx="45719" cy="4571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7" name="타원 16">
                <a:extLst>
                  <a:ext uri="{FF2B5EF4-FFF2-40B4-BE49-F238E27FC236}">
                    <a16:creationId xmlns:a16="http://schemas.microsoft.com/office/drawing/2014/main" id="{A0C448C9-E865-557D-6450-60D5266E79A0}"/>
                  </a:ext>
                </a:extLst>
              </p:cNvPr>
              <p:cNvSpPr/>
              <p:nvPr/>
            </p:nvSpPr>
            <p:spPr>
              <a:xfrm flipH="1" flipV="1">
                <a:off x="4946037" y="3386123"/>
                <a:ext cx="45719" cy="4571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cxnSp>
            <p:nvCxnSpPr>
              <p:cNvPr id="19" name="직선 연결선 18">
                <a:extLst>
                  <a:ext uri="{FF2B5EF4-FFF2-40B4-BE49-F238E27FC236}">
                    <a16:creationId xmlns:a16="http://schemas.microsoft.com/office/drawing/2014/main" id="{8ADC9B5B-55CA-4658-B287-3AD38373A6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1191" y="3102782"/>
                <a:ext cx="0" cy="342762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Rectangle: Rounded Corners 158">
                <a:extLst>
                  <a:ext uri="{FF2B5EF4-FFF2-40B4-BE49-F238E27FC236}">
                    <a16:creationId xmlns:a16="http://schemas.microsoft.com/office/drawing/2014/main" id="{93D872AA-466B-029A-59E5-D3F51D986528}"/>
                  </a:ext>
                </a:extLst>
              </p:cNvPr>
              <p:cNvSpPr/>
              <p:nvPr/>
            </p:nvSpPr>
            <p:spPr>
              <a:xfrm>
                <a:off x="3906460" y="3330621"/>
                <a:ext cx="1095948" cy="133523"/>
              </a:xfrm>
              <a:prstGeom prst="roundRect">
                <a:avLst>
                  <a:gd name="adj" fmla="val 7098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6" name="Rectangle: Rounded Corners 158">
                <a:extLst>
                  <a:ext uri="{FF2B5EF4-FFF2-40B4-BE49-F238E27FC236}">
                    <a16:creationId xmlns:a16="http://schemas.microsoft.com/office/drawing/2014/main" id="{CAA1354C-950E-A17B-3283-3E971F76E214}"/>
                  </a:ext>
                </a:extLst>
              </p:cNvPr>
              <p:cNvSpPr/>
              <p:nvPr/>
            </p:nvSpPr>
            <p:spPr>
              <a:xfrm>
                <a:off x="3906460" y="3038948"/>
                <a:ext cx="1095948" cy="133523"/>
              </a:xfrm>
              <a:prstGeom prst="roundRect">
                <a:avLst>
                  <a:gd name="adj" fmla="val 7098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34" name="그룹 33">
              <a:extLst>
                <a:ext uri="{FF2B5EF4-FFF2-40B4-BE49-F238E27FC236}">
                  <a16:creationId xmlns:a16="http://schemas.microsoft.com/office/drawing/2014/main" id="{A141DBBF-384C-5C19-AEBB-8048C87F24CA}"/>
                </a:ext>
              </a:extLst>
            </p:cNvPr>
            <p:cNvGrpSpPr/>
            <p:nvPr/>
          </p:nvGrpSpPr>
          <p:grpSpPr>
            <a:xfrm>
              <a:off x="8897378" y="1019281"/>
              <a:ext cx="477090" cy="551087"/>
              <a:chOff x="3403441" y="2998452"/>
              <a:chExt cx="477090" cy="551087"/>
            </a:xfrm>
          </p:grpSpPr>
          <p:sp>
            <p:nvSpPr>
              <p:cNvPr id="10" name="Rectangle 163">
                <a:extLst>
                  <a:ext uri="{FF2B5EF4-FFF2-40B4-BE49-F238E27FC236}">
                    <a16:creationId xmlns:a16="http://schemas.microsoft.com/office/drawing/2014/main" id="{1A4ABA68-E5CC-68A1-2D16-6566C58BBBA5}"/>
                  </a:ext>
                </a:extLst>
              </p:cNvPr>
              <p:cNvSpPr/>
              <p:nvPr/>
            </p:nvSpPr>
            <p:spPr>
              <a:xfrm>
                <a:off x="3403441" y="3408972"/>
                <a:ext cx="477090" cy="140567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9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211m</a:t>
                </a:r>
              </a:p>
            </p:txBody>
          </p:sp>
          <p:sp>
            <p:nvSpPr>
              <p:cNvPr id="9" name="화살표: 위쪽 8">
                <a:extLst>
                  <a:ext uri="{FF2B5EF4-FFF2-40B4-BE49-F238E27FC236}">
                    <a16:creationId xmlns:a16="http://schemas.microsoft.com/office/drawing/2014/main" id="{4F183967-4D18-7F4A-22A2-41163594911F}"/>
                  </a:ext>
                </a:extLst>
              </p:cNvPr>
              <p:cNvSpPr/>
              <p:nvPr/>
            </p:nvSpPr>
            <p:spPr>
              <a:xfrm rot="16200000">
                <a:off x="3463746" y="2956087"/>
                <a:ext cx="265889" cy="350619"/>
              </a:xfrm>
              <a:prstGeom prst="upArrow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32" name="직사각형 31">
                <a:extLst>
                  <a:ext uri="{FF2B5EF4-FFF2-40B4-BE49-F238E27FC236}">
                    <a16:creationId xmlns:a16="http://schemas.microsoft.com/office/drawing/2014/main" id="{EEFF6CB6-35D1-E7B6-673C-EE1A58F77746}"/>
                  </a:ext>
                </a:extLst>
              </p:cNvPr>
              <p:cNvSpPr/>
              <p:nvPr/>
            </p:nvSpPr>
            <p:spPr>
              <a:xfrm>
                <a:off x="3655195" y="3068843"/>
                <a:ext cx="116804" cy="26589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</p:grpSp>
        <p:grpSp>
          <p:nvGrpSpPr>
            <p:cNvPr id="71" name="그룹 70">
              <a:extLst>
                <a:ext uri="{FF2B5EF4-FFF2-40B4-BE49-F238E27FC236}">
                  <a16:creationId xmlns:a16="http://schemas.microsoft.com/office/drawing/2014/main" id="{391089F3-CF77-EF71-BCC8-CD80FB22A220}"/>
                </a:ext>
              </a:extLst>
            </p:cNvPr>
            <p:cNvGrpSpPr/>
            <p:nvPr/>
          </p:nvGrpSpPr>
          <p:grpSpPr>
            <a:xfrm>
              <a:off x="9967506" y="1839174"/>
              <a:ext cx="1228324" cy="4380295"/>
              <a:chOff x="4597192" y="3787909"/>
              <a:chExt cx="1228324" cy="4380295"/>
            </a:xfrm>
            <a:solidFill>
              <a:schemeClr val="bg1">
                <a:lumMod val="65000"/>
              </a:schemeClr>
            </a:solidFill>
          </p:grpSpPr>
          <p:sp>
            <p:nvSpPr>
              <p:cNvPr id="60" name="직사각형 59">
                <a:extLst>
                  <a:ext uri="{FF2B5EF4-FFF2-40B4-BE49-F238E27FC236}">
                    <a16:creationId xmlns:a16="http://schemas.microsoft.com/office/drawing/2014/main" id="{BE29920C-0324-6EAE-9CC6-7A8B03938D64}"/>
                  </a:ext>
                </a:extLst>
              </p:cNvPr>
              <p:cNvSpPr/>
              <p:nvPr/>
            </p:nvSpPr>
            <p:spPr>
              <a:xfrm>
                <a:off x="4669104" y="3787909"/>
                <a:ext cx="171490" cy="242338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61" name="직사각형 60">
                <a:extLst>
                  <a:ext uri="{FF2B5EF4-FFF2-40B4-BE49-F238E27FC236}">
                    <a16:creationId xmlns:a16="http://schemas.microsoft.com/office/drawing/2014/main" id="{B107C412-D9EB-6842-B147-68D3BE406FD3}"/>
                  </a:ext>
                </a:extLst>
              </p:cNvPr>
              <p:cNvSpPr/>
              <p:nvPr/>
            </p:nvSpPr>
            <p:spPr>
              <a:xfrm rot="1800000">
                <a:off x="4609418" y="6436534"/>
                <a:ext cx="1216098" cy="8710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62" name="직사각형 61">
                <a:extLst>
                  <a:ext uri="{FF2B5EF4-FFF2-40B4-BE49-F238E27FC236}">
                    <a16:creationId xmlns:a16="http://schemas.microsoft.com/office/drawing/2014/main" id="{0AE547AD-5A67-BC29-94C0-3A5ED373220B}"/>
                  </a:ext>
                </a:extLst>
              </p:cNvPr>
              <p:cNvSpPr/>
              <p:nvPr/>
            </p:nvSpPr>
            <p:spPr>
              <a:xfrm rot="253021">
                <a:off x="4597192" y="6194525"/>
                <a:ext cx="167585" cy="197367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</p:grpSp>
        <p:grpSp>
          <p:nvGrpSpPr>
            <p:cNvPr id="76" name="그룹 75">
              <a:extLst>
                <a:ext uri="{FF2B5EF4-FFF2-40B4-BE49-F238E27FC236}">
                  <a16:creationId xmlns:a16="http://schemas.microsoft.com/office/drawing/2014/main" id="{3677C923-BB3C-B6D9-5C92-D23488FE2C4C}"/>
                </a:ext>
              </a:extLst>
            </p:cNvPr>
            <p:cNvGrpSpPr/>
            <p:nvPr/>
          </p:nvGrpSpPr>
          <p:grpSpPr>
            <a:xfrm>
              <a:off x="10725629" y="2601399"/>
              <a:ext cx="389384" cy="572232"/>
              <a:chOff x="5108458" y="4720893"/>
              <a:chExt cx="636241" cy="572232"/>
            </a:xfrm>
          </p:grpSpPr>
          <p:grpSp>
            <p:nvGrpSpPr>
              <p:cNvPr id="72" name="그룹 71">
                <a:extLst>
                  <a:ext uri="{FF2B5EF4-FFF2-40B4-BE49-F238E27FC236}">
                    <a16:creationId xmlns:a16="http://schemas.microsoft.com/office/drawing/2014/main" id="{122FAAD6-4640-C4F7-A319-1E0EECA9D54D}"/>
                  </a:ext>
                </a:extLst>
              </p:cNvPr>
              <p:cNvGrpSpPr/>
              <p:nvPr/>
            </p:nvGrpSpPr>
            <p:grpSpPr>
              <a:xfrm>
                <a:off x="5108458" y="4724945"/>
                <a:ext cx="636241" cy="568180"/>
                <a:chOff x="5109736" y="3501498"/>
                <a:chExt cx="636241" cy="914400"/>
              </a:xfrm>
              <a:solidFill>
                <a:schemeClr val="bg2">
                  <a:lumMod val="90000"/>
                </a:schemeClr>
              </a:solidFill>
            </p:grpSpPr>
            <p:sp>
              <p:nvSpPr>
                <p:cNvPr id="73" name="사각형: 둥근 모서리 72">
                  <a:extLst>
                    <a:ext uri="{FF2B5EF4-FFF2-40B4-BE49-F238E27FC236}">
                      <a16:creationId xmlns:a16="http://schemas.microsoft.com/office/drawing/2014/main" id="{4803E371-2ED7-191A-8CB7-E327B13ED352}"/>
                    </a:ext>
                  </a:extLst>
                </p:cNvPr>
                <p:cNvSpPr/>
                <p:nvPr/>
              </p:nvSpPr>
              <p:spPr>
                <a:xfrm>
                  <a:off x="5109736" y="3501498"/>
                  <a:ext cx="634963" cy="91440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74" name="직사각형 73">
                  <a:extLst>
                    <a:ext uri="{FF2B5EF4-FFF2-40B4-BE49-F238E27FC236}">
                      <a16:creationId xmlns:a16="http://schemas.microsoft.com/office/drawing/2014/main" id="{46764638-B31A-CB0F-256A-03CEA5E088B3}"/>
                    </a:ext>
                  </a:extLst>
                </p:cNvPr>
                <p:cNvSpPr/>
                <p:nvPr/>
              </p:nvSpPr>
              <p:spPr>
                <a:xfrm>
                  <a:off x="5429997" y="4182260"/>
                  <a:ext cx="315980" cy="23363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75" name="직사각형 74">
                <a:extLst>
                  <a:ext uri="{FF2B5EF4-FFF2-40B4-BE49-F238E27FC236}">
                    <a16:creationId xmlns:a16="http://schemas.microsoft.com/office/drawing/2014/main" id="{5E8C2849-C4DC-70C5-D01E-85087D47236A}"/>
                  </a:ext>
                </a:extLst>
              </p:cNvPr>
              <p:cNvSpPr/>
              <p:nvPr/>
            </p:nvSpPr>
            <p:spPr>
              <a:xfrm>
                <a:off x="5465672" y="4720893"/>
                <a:ext cx="278388" cy="192372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grpSp>
          <p:nvGrpSpPr>
            <p:cNvPr id="99" name="그룹 98">
              <a:extLst>
                <a:ext uri="{FF2B5EF4-FFF2-40B4-BE49-F238E27FC236}">
                  <a16:creationId xmlns:a16="http://schemas.microsoft.com/office/drawing/2014/main" id="{EE185ABF-79A7-18E6-3AE2-16E16928B724}"/>
                </a:ext>
              </a:extLst>
            </p:cNvPr>
            <p:cNvGrpSpPr/>
            <p:nvPr/>
          </p:nvGrpSpPr>
          <p:grpSpPr>
            <a:xfrm>
              <a:off x="8554795" y="3949258"/>
              <a:ext cx="461535" cy="883251"/>
              <a:chOff x="3184481" y="5897993"/>
              <a:chExt cx="461535" cy="883251"/>
            </a:xfrm>
          </p:grpSpPr>
          <p:grpSp>
            <p:nvGrpSpPr>
              <p:cNvPr id="80" name="그룹 79">
                <a:extLst>
                  <a:ext uri="{FF2B5EF4-FFF2-40B4-BE49-F238E27FC236}">
                    <a16:creationId xmlns:a16="http://schemas.microsoft.com/office/drawing/2014/main" id="{74016942-2A81-043D-F033-59569213D1F7}"/>
                  </a:ext>
                </a:extLst>
              </p:cNvPr>
              <p:cNvGrpSpPr/>
              <p:nvPr/>
            </p:nvGrpSpPr>
            <p:grpSpPr>
              <a:xfrm rot="9783876">
                <a:off x="3256632" y="5897993"/>
                <a:ext cx="389384" cy="572232"/>
                <a:chOff x="5108458" y="4720893"/>
                <a:chExt cx="636241" cy="572232"/>
              </a:xfrm>
            </p:grpSpPr>
            <p:grpSp>
              <p:nvGrpSpPr>
                <p:cNvPr id="81" name="그룹 80">
                  <a:extLst>
                    <a:ext uri="{FF2B5EF4-FFF2-40B4-BE49-F238E27FC236}">
                      <a16:creationId xmlns:a16="http://schemas.microsoft.com/office/drawing/2014/main" id="{3677A125-0CF5-2D7A-092D-B7A1ED64D148}"/>
                    </a:ext>
                  </a:extLst>
                </p:cNvPr>
                <p:cNvGrpSpPr/>
                <p:nvPr/>
              </p:nvGrpSpPr>
              <p:grpSpPr>
                <a:xfrm>
                  <a:off x="5108458" y="4724945"/>
                  <a:ext cx="636241" cy="568180"/>
                  <a:chOff x="5109736" y="3501498"/>
                  <a:chExt cx="636241" cy="914400"/>
                </a:xfrm>
                <a:solidFill>
                  <a:schemeClr val="bg2">
                    <a:lumMod val="90000"/>
                  </a:schemeClr>
                </a:solidFill>
              </p:grpSpPr>
              <p:sp>
                <p:nvSpPr>
                  <p:cNvPr id="83" name="사각형: 둥근 모서리 82">
                    <a:extLst>
                      <a:ext uri="{FF2B5EF4-FFF2-40B4-BE49-F238E27FC236}">
                        <a16:creationId xmlns:a16="http://schemas.microsoft.com/office/drawing/2014/main" id="{A27D51F7-96BE-F1CE-9727-B9A94D37B854}"/>
                      </a:ext>
                    </a:extLst>
                  </p:cNvPr>
                  <p:cNvSpPr/>
                  <p:nvPr/>
                </p:nvSpPr>
                <p:spPr>
                  <a:xfrm>
                    <a:off x="5109736" y="3501498"/>
                    <a:ext cx="634963" cy="91440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  <p:sp>
                <p:nvSpPr>
                  <p:cNvPr id="84" name="직사각형 83">
                    <a:extLst>
                      <a:ext uri="{FF2B5EF4-FFF2-40B4-BE49-F238E27FC236}">
                        <a16:creationId xmlns:a16="http://schemas.microsoft.com/office/drawing/2014/main" id="{2A13E5B0-7CF2-1DA5-3559-51060854DFBC}"/>
                      </a:ext>
                    </a:extLst>
                  </p:cNvPr>
                  <p:cNvSpPr/>
                  <p:nvPr/>
                </p:nvSpPr>
                <p:spPr>
                  <a:xfrm>
                    <a:off x="5429997" y="4182260"/>
                    <a:ext cx="315980" cy="233638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</p:grpSp>
            <p:sp>
              <p:nvSpPr>
                <p:cNvPr id="82" name="직사각형 81">
                  <a:extLst>
                    <a:ext uri="{FF2B5EF4-FFF2-40B4-BE49-F238E27FC236}">
                      <a16:creationId xmlns:a16="http://schemas.microsoft.com/office/drawing/2014/main" id="{AEFECE47-7A84-B4FB-E89D-BE2790FECE68}"/>
                    </a:ext>
                  </a:extLst>
                </p:cNvPr>
                <p:cNvSpPr/>
                <p:nvPr/>
              </p:nvSpPr>
              <p:spPr>
                <a:xfrm>
                  <a:off x="5465672" y="4720893"/>
                  <a:ext cx="278388" cy="192372"/>
                </a:xfrm>
                <a:prstGeom prst="rect">
                  <a:avLst/>
                </a:prstGeom>
                <a:solidFill>
                  <a:schemeClr val="bg2">
                    <a:lumMod val="9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87" name="사각형: 둥근 모서리 86">
                <a:extLst>
                  <a:ext uri="{FF2B5EF4-FFF2-40B4-BE49-F238E27FC236}">
                    <a16:creationId xmlns:a16="http://schemas.microsoft.com/office/drawing/2014/main" id="{116C349C-6F7A-16B4-6B55-E41CC5F0B107}"/>
                  </a:ext>
                </a:extLst>
              </p:cNvPr>
              <p:cNvSpPr/>
              <p:nvPr/>
            </p:nvSpPr>
            <p:spPr>
              <a:xfrm>
                <a:off x="3186408" y="5968813"/>
                <a:ext cx="363150" cy="812431"/>
              </a:xfrm>
              <a:prstGeom prst="round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88" name="그룹 87">
                <a:extLst>
                  <a:ext uri="{FF2B5EF4-FFF2-40B4-BE49-F238E27FC236}">
                    <a16:creationId xmlns:a16="http://schemas.microsoft.com/office/drawing/2014/main" id="{3ED1B6DE-FFFE-E7A7-527F-097E7A538BE8}"/>
                  </a:ext>
                </a:extLst>
              </p:cNvPr>
              <p:cNvGrpSpPr/>
              <p:nvPr/>
            </p:nvGrpSpPr>
            <p:grpSpPr>
              <a:xfrm rot="10800000">
                <a:off x="3184481" y="5980542"/>
                <a:ext cx="255542" cy="354258"/>
                <a:chOff x="5108458" y="4720893"/>
                <a:chExt cx="636241" cy="572232"/>
              </a:xfrm>
            </p:grpSpPr>
            <p:grpSp>
              <p:nvGrpSpPr>
                <p:cNvPr id="89" name="그룹 88">
                  <a:extLst>
                    <a:ext uri="{FF2B5EF4-FFF2-40B4-BE49-F238E27FC236}">
                      <a16:creationId xmlns:a16="http://schemas.microsoft.com/office/drawing/2014/main" id="{B613D9D0-B639-0E96-FA87-F1BB73CA3F41}"/>
                    </a:ext>
                  </a:extLst>
                </p:cNvPr>
                <p:cNvGrpSpPr/>
                <p:nvPr/>
              </p:nvGrpSpPr>
              <p:grpSpPr>
                <a:xfrm>
                  <a:off x="5108458" y="4724945"/>
                  <a:ext cx="636241" cy="568180"/>
                  <a:chOff x="5109736" y="3501498"/>
                  <a:chExt cx="636241" cy="914400"/>
                </a:xfrm>
                <a:solidFill>
                  <a:schemeClr val="bg2">
                    <a:lumMod val="90000"/>
                  </a:schemeClr>
                </a:solidFill>
              </p:grpSpPr>
              <p:sp>
                <p:nvSpPr>
                  <p:cNvPr id="91" name="사각형: 둥근 모서리 90">
                    <a:extLst>
                      <a:ext uri="{FF2B5EF4-FFF2-40B4-BE49-F238E27FC236}">
                        <a16:creationId xmlns:a16="http://schemas.microsoft.com/office/drawing/2014/main" id="{C6EFB658-39A7-14AB-1731-E00B717488A1}"/>
                      </a:ext>
                    </a:extLst>
                  </p:cNvPr>
                  <p:cNvSpPr/>
                  <p:nvPr/>
                </p:nvSpPr>
                <p:spPr>
                  <a:xfrm>
                    <a:off x="5109736" y="3501498"/>
                    <a:ext cx="634963" cy="91440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  <p:sp>
                <p:nvSpPr>
                  <p:cNvPr id="92" name="직사각형 91">
                    <a:extLst>
                      <a:ext uri="{FF2B5EF4-FFF2-40B4-BE49-F238E27FC236}">
                        <a16:creationId xmlns:a16="http://schemas.microsoft.com/office/drawing/2014/main" id="{879AD3E5-52BD-95B2-111B-C381032A8FA8}"/>
                      </a:ext>
                    </a:extLst>
                  </p:cNvPr>
                  <p:cNvSpPr/>
                  <p:nvPr/>
                </p:nvSpPr>
                <p:spPr>
                  <a:xfrm>
                    <a:off x="5429997" y="4182260"/>
                    <a:ext cx="315980" cy="233638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</p:grpSp>
            <p:sp>
              <p:nvSpPr>
                <p:cNvPr id="90" name="직사각형 89">
                  <a:extLst>
                    <a:ext uri="{FF2B5EF4-FFF2-40B4-BE49-F238E27FC236}">
                      <a16:creationId xmlns:a16="http://schemas.microsoft.com/office/drawing/2014/main" id="{C5B57975-CA90-1673-51AD-E079BD972539}"/>
                    </a:ext>
                  </a:extLst>
                </p:cNvPr>
                <p:cNvSpPr/>
                <p:nvPr/>
              </p:nvSpPr>
              <p:spPr>
                <a:xfrm>
                  <a:off x="5465672" y="4720893"/>
                  <a:ext cx="278388" cy="192372"/>
                </a:xfrm>
                <a:prstGeom prst="rect">
                  <a:avLst/>
                </a:prstGeom>
                <a:solidFill>
                  <a:schemeClr val="bg2">
                    <a:lumMod val="9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grpSp>
            <p:nvGrpSpPr>
              <p:cNvPr id="93" name="그룹 92">
                <a:extLst>
                  <a:ext uri="{FF2B5EF4-FFF2-40B4-BE49-F238E27FC236}">
                    <a16:creationId xmlns:a16="http://schemas.microsoft.com/office/drawing/2014/main" id="{B98E6C87-295A-874D-647D-7F776960D7FD}"/>
                  </a:ext>
                </a:extLst>
              </p:cNvPr>
              <p:cNvGrpSpPr/>
              <p:nvPr/>
            </p:nvGrpSpPr>
            <p:grpSpPr>
              <a:xfrm rot="10800000">
                <a:off x="3184481" y="6426986"/>
                <a:ext cx="255542" cy="354258"/>
                <a:chOff x="5108458" y="4720893"/>
                <a:chExt cx="636241" cy="572232"/>
              </a:xfrm>
            </p:grpSpPr>
            <p:grpSp>
              <p:nvGrpSpPr>
                <p:cNvPr id="94" name="그룹 93">
                  <a:extLst>
                    <a:ext uri="{FF2B5EF4-FFF2-40B4-BE49-F238E27FC236}">
                      <a16:creationId xmlns:a16="http://schemas.microsoft.com/office/drawing/2014/main" id="{405F57A2-B667-1BC5-2219-55877A0FFA0F}"/>
                    </a:ext>
                  </a:extLst>
                </p:cNvPr>
                <p:cNvGrpSpPr/>
                <p:nvPr/>
              </p:nvGrpSpPr>
              <p:grpSpPr>
                <a:xfrm>
                  <a:off x="5108458" y="4724945"/>
                  <a:ext cx="636241" cy="568180"/>
                  <a:chOff x="5109736" y="3501498"/>
                  <a:chExt cx="636241" cy="914400"/>
                </a:xfrm>
                <a:solidFill>
                  <a:schemeClr val="bg2">
                    <a:lumMod val="90000"/>
                  </a:schemeClr>
                </a:solidFill>
              </p:grpSpPr>
              <p:sp>
                <p:nvSpPr>
                  <p:cNvPr id="97" name="사각형: 둥근 모서리 96">
                    <a:extLst>
                      <a:ext uri="{FF2B5EF4-FFF2-40B4-BE49-F238E27FC236}">
                        <a16:creationId xmlns:a16="http://schemas.microsoft.com/office/drawing/2014/main" id="{DD4C1062-CF31-E92C-742E-9D5343322F64}"/>
                      </a:ext>
                    </a:extLst>
                  </p:cNvPr>
                  <p:cNvSpPr/>
                  <p:nvPr/>
                </p:nvSpPr>
                <p:spPr>
                  <a:xfrm>
                    <a:off x="5109736" y="3501498"/>
                    <a:ext cx="634963" cy="91440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  <p:sp>
                <p:nvSpPr>
                  <p:cNvPr id="98" name="직사각형 97">
                    <a:extLst>
                      <a:ext uri="{FF2B5EF4-FFF2-40B4-BE49-F238E27FC236}">
                        <a16:creationId xmlns:a16="http://schemas.microsoft.com/office/drawing/2014/main" id="{CA42494C-D7AA-E5B8-0692-D82992037555}"/>
                      </a:ext>
                    </a:extLst>
                  </p:cNvPr>
                  <p:cNvSpPr/>
                  <p:nvPr/>
                </p:nvSpPr>
                <p:spPr>
                  <a:xfrm>
                    <a:off x="5429997" y="4182260"/>
                    <a:ext cx="315980" cy="233638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</p:grpSp>
            <p:sp>
              <p:nvSpPr>
                <p:cNvPr id="96" name="직사각형 95">
                  <a:extLst>
                    <a:ext uri="{FF2B5EF4-FFF2-40B4-BE49-F238E27FC236}">
                      <a16:creationId xmlns:a16="http://schemas.microsoft.com/office/drawing/2014/main" id="{09C00E34-B8B4-EE39-502E-C48FD3F996C1}"/>
                    </a:ext>
                  </a:extLst>
                </p:cNvPr>
                <p:cNvSpPr/>
                <p:nvPr/>
              </p:nvSpPr>
              <p:spPr>
                <a:xfrm>
                  <a:off x="5465672" y="4720893"/>
                  <a:ext cx="278388" cy="192372"/>
                </a:xfrm>
                <a:prstGeom prst="rect">
                  <a:avLst/>
                </a:prstGeom>
                <a:solidFill>
                  <a:schemeClr val="bg2">
                    <a:lumMod val="9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</p:grpSp>
        <p:sp>
          <p:nvSpPr>
            <p:cNvPr id="113" name="직사각형 112">
              <a:extLst>
                <a:ext uri="{FF2B5EF4-FFF2-40B4-BE49-F238E27FC236}">
                  <a16:creationId xmlns:a16="http://schemas.microsoft.com/office/drawing/2014/main" id="{837BD8D6-9B92-0403-2C3B-057CA96D66C7}"/>
                </a:ext>
              </a:extLst>
            </p:cNvPr>
            <p:cNvSpPr/>
            <p:nvPr/>
          </p:nvSpPr>
          <p:spPr>
            <a:xfrm rot="18060212">
              <a:off x="9267624" y="1954544"/>
              <a:ext cx="174780" cy="1733591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67" name="그룹 66">
              <a:extLst>
                <a:ext uri="{FF2B5EF4-FFF2-40B4-BE49-F238E27FC236}">
                  <a16:creationId xmlns:a16="http://schemas.microsoft.com/office/drawing/2014/main" id="{914988F2-B174-932A-9DFB-B6304CA2061E}"/>
                </a:ext>
              </a:extLst>
            </p:cNvPr>
            <p:cNvGrpSpPr/>
            <p:nvPr/>
          </p:nvGrpSpPr>
          <p:grpSpPr>
            <a:xfrm>
              <a:off x="9091700" y="1839174"/>
              <a:ext cx="514014" cy="4434165"/>
              <a:chOff x="3721386" y="3787909"/>
              <a:chExt cx="514014" cy="4434165"/>
            </a:xfrm>
            <a:solidFill>
              <a:schemeClr val="bg1">
                <a:lumMod val="50000"/>
              </a:schemeClr>
            </a:solidFill>
          </p:grpSpPr>
          <p:sp>
            <p:nvSpPr>
              <p:cNvPr id="52" name="직사각형 51">
                <a:extLst>
                  <a:ext uri="{FF2B5EF4-FFF2-40B4-BE49-F238E27FC236}">
                    <a16:creationId xmlns:a16="http://schemas.microsoft.com/office/drawing/2014/main" id="{F989BCA7-AA70-B7B9-D535-8F64A18EC556}"/>
                  </a:ext>
                </a:extLst>
              </p:cNvPr>
              <p:cNvSpPr/>
              <p:nvPr/>
            </p:nvSpPr>
            <p:spPr>
              <a:xfrm>
                <a:off x="3721386" y="3787909"/>
                <a:ext cx="356583" cy="166810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54" name="직사각형 53">
                <a:extLst>
                  <a:ext uri="{FF2B5EF4-FFF2-40B4-BE49-F238E27FC236}">
                    <a16:creationId xmlns:a16="http://schemas.microsoft.com/office/drawing/2014/main" id="{5DB007D5-81E7-2EDA-7BCD-22B59A005D55}"/>
                  </a:ext>
                </a:extLst>
              </p:cNvPr>
              <p:cNvSpPr/>
              <p:nvPr/>
            </p:nvSpPr>
            <p:spPr>
              <a:xfrm rot="719744">
                <a:off x="3874688" y="6515598"/>
                <a:ext cx="356559" cy="170647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53" name="직사각형 52">
                <a:extLst>
                  <a:ext uri="{FF2B5EF4-FFF2-40B4-BE49-F238E27FC236}">
                    <a16:creationId xmlns:a16="http://schemas.microsoft.com/office/drawing/2014/main" id="{5EBA50D4-9921-7424-E214-C5E7EB8B15AF}"/>
                  </a:ext>
                </a:extLst>
              </p:cNvPr>
              <p:cNvSpPr/>
              <p:nvPr/>
            </p:nvSpPr>
            <p:spPr>
              <a:xfrm rot="20643514">
                <a:off x="3890014" y="5369180"/>
                <a:ext cx="345386" cy="128109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grpSp>
          <p:nvGrpSpPr>
            <p:cNvPr id="55" name="그룹 54">
              <a:extLst>
                <a:ext uri="{FF2B5EF4-FFF2-40B4-BE49-F238E27FC236}">
                  <a16:creationId xmlns:a16="http://schemas.microsoft.com/office/drawing/2014/main" id="{8607E97D-4411-CE64-A84A-846977F1CE4C}"/>
                </a:ext>
              </a:extLst>
            </p:cNvPr>
            <p:cNvGrpSpPr/>
            <p:nvPr/>
          </p:nvGrpSpPr>
          <p:grpSpPr>
            <a:xfrm>
              <a:off x="8788908" y="5136188"/>
              <a:ext cx="2099901" cy="774821"/>
              <a:chOff x="3418594" y="7084923"/>
              <a:chExt cx="2099901" cy="774821"/>
            </a:xfrm>
          </p:grpSpPr>
          <p:sp>
            <p:nvSpPr>
              <p:cNvPr id="159" name="Rectangle: Rounded Corners 158">
                <a:extLst>
                  <a:ext uri="{FF2B5EF4-FFF2-40B4-BE49-F238E27FC236}">
                    <a16:creationId xmlns:a16="http://schemas.microsoft.com/office/drawing/2014/main" id="{5467F3D0-657F-40F5-9CDD-10743A1D52DD}"/>
                  </a:ext>
                </a:extLst>
              </p:cNvPr>
              <p:cNvSpPr/>
              <p:nvPr/>
            </p:nvSpPr>
            <p:spPr>
              <a:xfrm>
                <a:off x="3418594" y="7084923"/>
                <a:ext cx="2099901" cy="774821"/>
              </a:xfrm>
              <a:prstGeom prst="roundRect">
                <a:avLst>
                  <a:gd name="adj" fmla="val 7098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2" name="Oval 161">
                <a:extLst>
                  <a:ext uri="{FF2B5EF4-FFF2-40B4-BE49-F238E27FC236}">
                    <a16:creationId xmlns:a16="http://schemas.microsoft.com/office/drawing/2014/main" id="{62E4E9F7-B8A2-476D-A91F-59B0695A8EB3}"/>
                  </a:ext>
                </a:extLst>
              </p:cNvPr>
              <p:cNvSpPr/>
              <p:nvPr/>
            </p:nvSpPr>
            <p:spPr>
              <a:xfrm>
                <a:off x="3497583" y="7167845"/>
                <a:ext cx="180023" cy="180023"/>
              </a:xfrm>
              <a:prstGeom prst="ellipse">
                <a:avLst/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십자형 27">
                <a:extLst>
                  <a:ext uri="{FF2B5EF4-FFF2-40B4-BE49-F238E27FC236}">
                    <a16:creationId xmlns:a16="http://schemas.microsoft.com/office/drawing/2014/main" id="{F5186E26-919A-4C6C-589A-2DF99AC6C14B}"/>
                  </a:ext>
                </a:extLst>
              </p:cNvPr>
              <p:cNvSpPr/>
              <p:nvPr/>
            </p:nvSpPr>
            <p:spPr>
              <a:xfrm rot="18900000" flipH="1">
                <a:off x="3537809" y="7212767"/>
                <a:ext cx="99569" cy="99569"/>
              </a:xfrm>
              <a:prstGeom prst="plus">
                <a:avLst>
                  <a:gd name="adj" fmla="val 44823"/>
                </a:avLst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30" name="타원 29">
                <a:extLst>
                  <a:ext uri="{FF2B5EF4-FFF2-40B4-BE49-F238E27FC236}">
                    <a16:creationId xmlns:a16="http://schemas.microsoft.com/office/drawing/2014/main" id="{1FDF5AF4-076A-58E0-7899-14B7B116E40A}"/>
                  </a:ext>
                </a:extLst>
              </p:cNvPr>
              <p:cNvSpPr/>
              <p:nvPr/>
            </p:nvSpPr>
            <p:spPr>
              <a:xfrm>
                <a:off x="4993894" y="7167845"/>
                <a:ext cx="180023" cy="18002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7983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31" name="타원 30">
                <a:extLst>
                  <a:ext uri="{FF2B5EF4-FFF2-40B4-BE49-F238E27FC236}">
                    <a16:creationId xmlns:a16="http://schemas.microsoft.com/office/drawing/2014/main" id="{4D9E2298-6A0C-5819-9282-612BB1F6E942}"/>
                  </a:ext>
                </a:extLst>
              </p:cNvPr>
              <p:cNvSpPr/>
              <p:nvPr/>
            </p:nvSpPr>
            <p:spPr>
              <a:xfrm>
                <a:off x="5257388" y="7167845"/>
                <a:ext cx="180023" cy="18002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7983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35" name="별: 꼭짓점 5개 34">
                <a:extLst>
                  <a:ext uri="{FF2B5EF4-FFF2-40B4-BE49-F238E27FC236}">
                    <a16:creationId xmlns:a16="http://schemas.microsoft.com/office/drawing/2014/main" id="{3FBB9670-02A2-8A55-B233-C58311C7D155}"/>
                  </a:ext>
                </a:extLst>
              </p:cNvPr>
              <p:cNvSpPr/>
              <p:nvPr/>
            </p:nvSpPr>
            <p:spPr>
              <a:xfrm>
                <a:off x="5298608" y="7209065"/>
                <a:ext cx="97581" cy="97581"/>
              </a:xfrm>
              <a:prstGeom prst="star5">
                <a:avLst>
                  <a:gd name="adj" fmla="val 22577"/>
                  <a:gd name="hf" fmla="val 105146"/>
                  <a:gd name="vf" fmla="val 110557"/>
                </a:avLst>
              </a:prstGeom>
              <a:solidFill>
                <a:srgbClr val="7983D7"/>
              </a:solidFill>
              <a:ln>
                <a:solidFill>
                  <a:srgbClr val="7983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51" name="그룹 50">
                <a:extLst>
                  <a:ext uri="{FF2B5EF4-FFF2-40B4-BE49-F238E27FC236}">
                    <a16:creationId xmlns:a16="http://schemas.microsoft.com/office/drawing/2014/main" id="{E87A0964-912B-751B-06C1-B7D2438E7F68}"/>
                  </a:ext>
                </a:extLst>
              </p:cNvPr>
              <p:cNvGrpSpPr/>
              <p:nvPr/>
            </p:nvGrpSpPr>
            <p:grpSpPr>
              <a:xfrm>
                <a:off x="5035195" y="7206046"/>
                <a:ext cx="97419" cy="104758"/>
                <a:chOff x="5041922" y="7209065"/>
                <a:chExt cx="97419" cy="104758"/>
              </a:xfrm>
            </p:grpSpPr>
            <p:sp>
              <p:nvSpPr>
                <p:cNvPr id="36" name="타원 35">
                  <a:extLst>
                    <a:ext uri="{FF2B5EF4-FFF2-40B4-BE49-F238E27FC236}">
                      <a16:creationId xmlns:a16="http://schemas.microsoft.com/office/drawing/2014/main" id="{7AC924B4-168F-C8F9-5FFC-0E2744D704EF}"/>
                    </a:ext>
                  </a:extLst>
                </p:cNvPr>
                <p:cNvSpPr/>
                <p:nvPr/>
              </p:nvSpPr>
              <p:spPr>
                <a:xfrm>
                  <a:off x="5058571" y="7209065"/>
                  <a:ext cx="80770" cy="807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7983D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grpSp>
              <p:nvGrpSpPr>
                <p:cNvPr id="44" name="그룹 43">
                  <a:extLst>
                    <a:ext uri="{FF2B5EF4-FFF2-40B4-BE49-F238E27FC236}">
                      <a16:creationId xmlns:a16="http://schemas.microsoft.com/office/drawing/2014/main" id="{0EBB0DC0-5419-1A34-5D5B-75177E537DBC}"/>
                    </a:ext>
                  </a:extLst>
                </p:cNvPr>
                <p:cNvGrpSpPr/>
                <p:nvPr/>
              </p:nvGrpSpPr>
              <p:grpSpPr>
                <a:xfrm>
                  <a:off x="5041922" y="7280733"/>
                  <a:ext cx="25169" cy="28552"/>
                  <a:chOff x="6005517" y="7469542"/>
                  <a:chExt cx="25169" cy="28552"/>
                </a:xfrm>
              </p:grpSpPr>
              <p:cxnSp>
                <p:nvCxnSpPr>
                  <p:cNvPr id="39" name="직선 연결선 38">
                    <a:extLst>
                      <a:ext uri="{FF2B5EF4-FFF2-40B4-BE49-F238E27FC236}">
                        <a16:creationId xmlns:a16="http://schemas.microsoft.com/office/drawing/2014/main" id="{73B4E3A2-3567-BC00-3A63-113C90F7887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6005517" y="7470019"/>
                    <a:ext cx="25169" cy="28075"/>
                  </a:xfrm>
                  <a:prstGeom prst="line">
                    <a:avLst/>
                  </a:prstGeom>
                  <a:ln>
                    <a:solidFill>
                      <a:srgbClr val="7983D7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3" name="직선 연결선 42">
                    <a:extLst>
                      <a:ext uri="{FF2B5EF4-FFF2-40B4-BE49-F238E27FC236}">
                        <a16:creationId xmlns:a16="http://schemas.microsoft.com/office/drawing/2014/main" id="{60AF0ECE-1FE2-91A7-A23E-AAE51CE9A12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6005517" y="7469542"/>
                    <a:ext cx="25169" cy="28075"/>
                  </a:xfrm>
                  <a:prstGeom prst="line">
                    <a:avLst/>
                  </a:prstGeom>
                  <a:ln>
                    <a:solidFill>
                      <a:srgbClr val="7983D7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48" name="그룹 47">
                  <a:extLst>
                    <a:ext uri="{FF2B5EF4-FFF2-40B4-BE49-F238E27FC236}">
                      <a16:creationId xmlns:a16="http://schemas.microsoft.com/office/drawing/2014/main" id="{9EE0BE62-C381-2A66-ACE0-E1DCE95CBD19}"/>
                    </a:ext>
                  </a:extLst>
                </p:cNvPr>
                <p:cNvGrpSpPr/>
                <p:nvPr/>
              </p:nvGrpSpPr>
              <p:grpSpPr>
                <a:xfrm>
                  <a:off x="5045221" y="7285271"/>
                  <a:ext cx="25169" cy="28552"/>
                  <a:chOff x="6005517" y="7469542"/>
                  <a:chExt cx="25169" cy="28552"/>
                </a:xfrm>
              </p:grpSpPr>
              <p:cxnSp>
                <p:nvCxnSpPr>
                  <p:cNvPr id="49" name="직선 연결선 48">
                    <a:extLst>
                      <a:ext uri="{FF2B5EF4-FFF2-40B4-BE49-F238E27FC236}">
                        <a16:creationId xmlns:a16="http://schemas.microsoft.com/office/drawing/2014/main" id="{0F8FB91F-13A0-CB2E-1E57-8BAF4E6037B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6005517" y="7470019"/>
                    <a:ext cx="25169" cy="28075"/>
                  </a:xfrm>
                  <a:prstGeom prst="line">
                    <a:avLst/>
                  </a:prstGeom>
                  <a:ln>
                    <a:solidFill>
                      <a:srgbClr val="7983D7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0" name="직선 연결선 49">
                    <a:extLst>
                      <a:ext uri="{FF2B5EF4-FFF2-40B4-BE49-F238E27FC236}">
                        <a16:creationId xmlns:a16="http://schemas.microsoft.com/office/drawing/2014/main" id="{216DE361-EF5D-F759-810E-798BC7F8382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6005517" y="7469542"/>
                    <a:ext cx="25169" cy="28075"/>
                  </a:xfrm>
                  <a:prstGeom prst="line">
                    <a:avLst/>
                  </a:prstGeom>
                  <a:ln>
                    <a:solidFill>
                      <a:srgbClr val="7983D7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sp>
          <p:nvSpPr>
            <p:cNvPr id="114" name="직사각형 113">
              <a:extLst>
                <a:ext uri="{FF2B5EF4-FFF2-40B4-BE49-F238E27FC236}">
                  <a16:creationId xmlns:a16="http://schemas.microsoft.com/office/drawing/2014/main" id="{445219A8-2007-0659-4915-D13BF877568A}"/>
                </a:ext>
              </a:extLst>
            </p:cNvPr>
            <p:cNvSpPr/>
            <p:nvPr/>
          </p:nvSpPr>
          <p:spPr>
            <a:xfrm rot="16200000">
              <a:off x="8556761" y="2333904"/>
              <a:ext cx="121871" cy="12801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15" name="직사각형 114">
              <a:extLst>
                <a:ext uri="{FF2B5EF4-FFF2-40B4-BE49-F238E27FC236}">
                  <a16:creationId xmlns:a16="http://schemas.microsoft.com/office/drawing/2014/main" id="{759CE6D2-8EE8-E7F4-2077-F76392D8478F}"/>
                </a:ext>
              </a:extLst>
            </p:cNvPr>
            <p:cNvSpPr/>
            <p:nvPr/>
          </p:nvSpPr>
          <p:spPr>
            <a:xfrm rot="16200000">
              <a:off x="8577590" y="2276821"/>
              <a:ext cx="58720" cy="104987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119" name="직선 연결선 118">
              <a:extLst>
                <a:ext uri="{FF2B5EF4-FFF2-40B4-BE49-F238E27FC236}">
                  <a16:creationId xmlns:a16="http://schemas.microsoft.com/office/drawing/2014/main" id="{DD509C8C-4D84-E2C6-98F0-E60BA34FD62C}"/>
                </a:ext>
              </a:extLst>
            </p:cNvPr>
            <p:cNvCxnSpPr>
              <a:cxnSpLocks/>
              <a:stCxn id="60" idx="0"/>
              <a:endCxn id="62" idx="0"/>
            </p:cNvCxnSpPr>
            <p:nvPr/>
          </p:nvCxnSpPr>
          <p:spPr>
            <a:xfrm flipH="1">
              <a:off x="10123866" y="1839174"/>
              <a:ext cx="1297" cy="2409288"/>
            </a:xfrm>
            <a:prstGeom prst="straightConnector1">
              <a:avLst/>
            </a:prstGeom>
            <a:ln w="57150">
              <a:solidFill>
                <a:srgbClr val="7983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8" name="타원 127">
              <a:extLst>
                <a:ext uri="{FF2B5EF4-FFF2-40B4-BE49-F238E27FC236}">
                  <a16:creationId xmlns:a16="http://schemas.microsoft.com/office/drawing/2014/main" id="{65521CAE-BC09-4454-6EA8-93FCEE2C1E7A}"/>
                </a:ext>
              </a:extLst>
            </p:cNvPr>
            <p:cNvSpPr/>
            <p:nvPr/>
          </p:nvSpPr>
          <p:spPr>
            <a:xfrm flipH="1" flipV="1">
              <a:off x="10062298" y="4234686"/>
              <a:ext cx="109838" cy="10983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7983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148" name="Picture 147">
              <a:extLst>
                <a:ext uri="{FF2B5EF4-FFF2-40B4-BE49-F238E27FC236}">
                  <a16:creationId xmlns:a16="http://schemas.microsoft.com/office/drawing/2014/main" id="{7C1B61BD-10FC-4BA7-9517-6F773741370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6990" y="594656"/>
              <a:ext cx="3931651" cy="5948634"/>
            </a:xfrm>
            <a:prstGeom prst="rect">
              <a:avLst/>
            </a:prstGeom>
          </p:spPr>
        </p:pic>
      </p:grpSp>
      <p:sp>
        <p:nvSpPr>
          <p:cNvPr id="193" name="TextBox 192">
            <a:extLst>
              <a:ext uri="{FF2B5EF4-FFF2-40B4-BE49-F238E27FC236}">
                <a16:creationId xmlns:a16="http://schemas.microsoft.com/office/drawing/2014/main" id="{A2460033-5308-1494-34DF-FD40A832147B}"/>
              </a:ext>
            </a:extLst>
          </p:cNvPr>
          <p:cNvSpPr txBox="1"/>
          <p:nvPr/>
        </p:nvSpPr>
        <p:spPr>
          <a:xfrm>
            <a:off x="773403" y="5827110"/>
            <a:ext cx="44716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HY견고딕" panose="02030600000101010101" pitchFamily="18" charset="-127"/>
                <a:ea typeface="HY견고딕" panose="02030600000101010101" pitchFamily="18" charset="-127"/>
              </a:rPr>
              <a:t>20180314 </a:t>
            </a:r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이호준      </a:t>
            </a:r>
            <a:r>
              <a:rPr lang="en-US" altLang="ko-KR" dirty="0">
                <a:latin typeface="HY견고딕" panose="02030600000101010101" pitchFamily="18" charset="-127"/>
                <a:ea typeface="HY견고딕" panose="02030600000101010101" pitchFamily="18" charset="-127"/>
              </a:rPr>
              <a:t>20190048 </a:t>
            </a:r>
            <a:r>
              <a:rPr lang="ko-KR" altLang="en-US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박호진</a:t>
            </a:r>
            <a:endParaRPr lang="en-US" altLang="ko-KR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r>
              <a:rPr lang="en-US" altLang="ko-KR" dirty="0">
                <a:latin typeface="HY견고딕" panose="02030600000101010101" pitchFamily="18" charset="-127"/>
                <a:ea typeface="HY견고딕" panose="02030600000101010101" pitchFamily="18" charset="-127"/>
              </a:rPr>
              <a:t>20220515 </a:t>
            </a:r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홍은주      </a:t>
            </a:r>
            <a:r>
              <a:rPr lang="en-US" altLang="ko-KR" dirty="0">
                <a:latin typeface="HY견고딕" panose="02030600000101010101" pitchFamily="18" charset="-127"/>
                <a:ea typeface="HY견고딕" panose="02030600000101010101" pitchFamily="18" charset="-127"/>
              </a:rPr>
              <a:t>20220654 </a:t>
            </a:r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유승훈</a:t>
            </a:r>
          </a:p>
        </p:txBody>
      </p:sp>
    </p:spTree>
    <p:extLst>
      <p:ext uri="{BB962C8B-B14F-4D97-AF65-F5344CB8AC3E}">
        <p14:creationId xmlns:p14="http://schemas.microsoft.com/office/powerpoint/2010/main" val="16696096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055881-0987-4E8D-9868-57D3568DCC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055881-0987-4E8D-9868-57D3568DCC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3" name="Picture 72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104B38CE-3B31-42F4-9B29-145C3B50680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0" y="0"/>
            <a:ext cx="12192000" cy="524365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42EB6E2-C9EB-45B8-BED6-A375365933E9}"/>
              </a:ext>
            </a:extLst>
          </p:cNvPr>
          <p:cNvSpPr/>
          <p:nvPr/>
        </p:nvSpPr>
        <p:spPr>
          <a:xfrm>
            <a:off x="0" y="0"/>
            <a:ext cx="12192000" cy="5257800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9AAF079-DF5B-4FC9-804F-C0C32BD9014C}"/>
              </a:ext>
            </a:extLst>
          </p:cNvPr>
          <p:cNvSpPr/>
          <p:nvPr/>
        </p:nvSpPr>
        <p:spPr>
          <a:xfrm>
            <a:off x="9030418" y="3614194"/>
            <a:ext cx="2608262" cy="66432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: Rounded Corners 6">
            <a:extLst>
              <a:ext uri="{FF2B5EF4-FFF2-40B4-BE49-F238E27FC236}">
                <a16:creationId xmlns:a16="http://schemas.microsoft.com/office/drawing/2014/main" id="{9DDB3614-6AEA-4C71-1520-550F09AA268A}"/>
              </a:ext>
            </a:extLst>
          </p:cNvPr>
          <p:cNvSpPr/>
          <p:nvPr/>
        </p:nvSpPr>
        <p:spPr>
          <a:xfrm>
            <a:off x="7615262" y="2444662"/>
            <a:ext cx="4081438" cy="66432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A671BDED-9331-4977-AE2A-348200944040}"/>
              </a:ext>
            </a:extLst>
          </p:cNvPr>
          <p:cNvSpPr txBox="1">
            <a:spLocks/>
          </p:cNvSpPr>
          <p:nvPr/>
        </p:nvSpPr>
        <p:spPr>
          <a:xfrm>
            <a:off x="6243800" y="1939450"/>
            <a:ext cx="5452900" cy="25281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9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</a:t>
            </a:r>
          </a:p>
          <a:p>
            <a:pPr algn="r"/>
            <a:r>
              <a:rPr lang="en-US" sz="9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OU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7ADF4DCF-134C-08DD-41EF-916D58477A36}"/>
              </a:ext>
            </a:extLst>
          </p:cNvPr>
          <p:cNvGrpSpPr/>
          <p:nvPr/>
        </p:nvGrpSpPr>
        <p:grpSpPr>
          <a:xfrm>
            <a:off x="553320" y="630870"/>
            <a:ext cx="3931651" cy="5948634"/>
            <a:chOff x="4337640" y="463715"/>
            <a:chExt cx="3931651" cy="5948634"/>
          </a:xfrm>
        </p:grpSpPr>
        <p:grpSp>
          <p:nvGrpSpPr>
            <p:cNvPr id="3" name="그룹 2">
              <a:extLst>
                <a:ext uri="{FF2B5EF4-FFF2-40B4-BE49-F238E27FC236}">
                  <a16:creationId xmlns:a16="http://schemas.microsoft.com/office/drawing/2014/main" id="{E4813289-B800-F0AE-1D30-BAEE9ABCDB04}"/>
                </a:ext>
              </a:extLst>
            </p:cNvPr>
            <p:cNvGrpSpPr/>
            <p:nvPr/>
          </p:nvGrpSpPr>
          <p:grpSpPr>
            <a:xfrm>
              <a:off x="5008612" y="650313"/>
              <a:ext cx="2561481" cy="5429250"/>
              <a:chOff x="5008612" y="650313"/>
              <a:chExt cx="2561481" cy="5429250"/>
            </a:xfrm>
          </p:grpSpPr>
          <p:grpSp>
            <p:nvGrpSpPr>
              <p:cNvPr id="74" name="Group 110">
                <a:extLst>
                  <a:ext uri="{FF2B5EF4-FFF2-40B4-BE49-F238E27FC236}">
                    <a16:creationId xmlns:a16="http://schemas.microsoft.com/office/drawing/2014/main" id="{2DC955EC-B99A-729E-3A91-21834BFDFEA4}"/>
                  </a:ext>
                </a:extLst>
              </p:cNvPr>
              <p:cNvGrpSpPr/>
              <p:nvPr/>
            </p:nvGrpSpPr>
            <p:grpSpPr>
              <a:xfrm>
                <a:off x="5008612" y="650313"/>
                <a:ext cx="2561481" cy="5429250"/>
                <a:chOff x="5220361" y="638174"/>
                <a:chExt cx="2561481" cy="5429250"/>
              </a:xfrm>
            </p:grpSpPr>
            <p:grpSp>
              <p:nvGrpSpPr>
                <p:cNvPr id="76" name="Group 100">
                  <a:extLst>
                    <a:ext uri="{FF2B5EF4-FFF2-40B4-BE49-F238E27FC236}">
                      <a16:creationId xmlns:a16="http://schemas.microsoft.com/office/drawing/2014/main" id="{4E9D29EB-78F0-A6C6-BAEC-9A1406F50DB1}"/>
                    </a:ext>
                  </a:extLst>
                </p:cNvPr>
                <p:cNvGrpSpPr/>
                <p:nvPr/>
              </p:nvGrpSpPr>
              <p:grpSpPr>
                <a:xfrm>
                  <a:off x="5220361" y="638174"/>
                  <a:ext cx="2561481" cy="5429250"/>
                  <a:chOff x="5220361" y="638174"/>
                  <a:chExt cx="2561481" cy="5429250"/>
                </a:xfrm>
              </p:grpSpPr>
              <p:sp>
                <p:nvSpPr>
                  <p:cNvPr id="78" name="Rectangle: Rounded Corners 94">
                    <a:extLst>
                      <a:ext uri="{FF2B5EF4-FFF2-40B4-BE49-F238E27FC236}">
                        <a16:creationId xmlns:a16="http://schemas.microsoft.com/office/drawing/2014/main" id="{DF96E517-94A4-462B-527A-F204BA576AA1}"/>
                      </a:ext>
                    </a:extLst>
                  </p:cNvPr>
                  <p:cNvSpPr/>
                  <p:nvPr/>
                </p:nvSpPr>
                <p:spPr>
                  <a:xfrm>
                    <a:off x="5220361" y="638174"/>
                    <a:ext cx="2561481" cy="5429250"/>
                  </a:xfrm>
                  <a:prstGeom prst="roundRect">
                    <a:avLst>
                      <a:gd name="adj" fmla="val 7098"/>
                    </a:avLst>
                  </a:prstGeom>
                  <a:gradFill>
                    <a:gsLst>
                      <a:gs pos="100000">
                        <a:srgbClr val="4757B8"/>
                      </a:gs>
                      <a:gs pos="38000">
                        <a:srgbClr val="7983D7"/>
                      </a:gs>
                    </a:gsLst>
                    <a:lin ang="8100000" scaled="1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79" name="Freeform: Shape 99">
                    <a:extLst>
                      <a:ext uri="{FF2B5EF4-FFF2-40B4-BE49-F238E27FC236}">
                        <a16:creationId xmlns:a16="http://schemas.microsoft.com/office/drawing/2014/main" id="{0459F4F8-C24D-8B99-2AF2-75AF13ECA8B5}"/>
                      </a:ext>
                    </a:extLst>
                  </p:cNvPr>
                  <p:cNvSpPr/>
                  <p:nvPr/>
                </p:nvSpPr>
                <p:spPr>
                  <a:xfrm>
                    <a:off x="5220361" y="656677"/>
                    <a:ext cx="2561481" cy="5405917"/>
                  </a:xfrm>
                  <a:custGeom>
                    <a:avLst/>
                    <a:gdLst>
                      <a:gd name="connsiteX0" fmla="*/ 2463852 w 2561481"/>
                      <a:gd name="connsiteY0" fmla="*/ 0 h 5405917"/>
                      <a:gd name="connsiteX1" fmla="*/ 2508229 w 2561481"/>
                      <a:gd name="connsiteY1" fmla="*/ 29919 h 5405917"/>
                      <a:gd name="connsiteX2" fmla="*/ 2561481 w 2561481"/>
                      <a:gd name="connsiteY2" fmla="*/ 158481 h 5405917"/>
                      <a:gd name="connsiteX3" fmla="*/ 2561481 w 2561481"/>
                      <a:gd name="connsiteY3" fmla="*/ 5224103 h 5405917"/>
                      <a:gd name="connsiteX4" fmla="*/ 2379667 w 2561481"/>
                      <a:gd name="connsiteY4" fmla="*/ 5405917 h 5405917"/>
                      <a:gd name="connsiteX5" fmla="*/ 181814 w 2561481"/>
                      <a:gd name="connsiteY5" fmla="*/ 5405917 h 5405917"/>
                      <a:gd name="connsiteX6" fmla="*/ 0 w 2561481"/>
                      <a:gd name="connsiteY6" fmla="*/ 5224103 h 5405917"/>
                      <a:gd name="connsiteX7" fmla="*/ 0 w 2561481"/>
                      <a:gd name="connsiteY7" fmla="*/ 5219587 h 54059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561481" h="5405917">
                        <a:moveTo>
                          <a:pt x="2463852" y="0"/>
                        </a:moveTo>
                        <a:lnTo>
                          <a:pt x="2508229" y="29919"/>
                        </a:lnTo>
                        <a:cubicBezTo>
                          <a:pt x="2541131" y="62821"/>
                          <a:pt x="2561481" y="108275"/>
                          <a:pt x="2561481" y="158481"/>
                        </a:cubicBezTo>
                        <a:lnTo>
                          <a:pt x="2561481" y="5224103"/>
                        </a:lnTo>
                        <a:cubicBezTo>
                          <a:pt x="2561481" y="5324516"/>
                          <a:pt x="2480080" y="5405917"/>
                          <a:pt x="2379667" y="5405917"/>
                        </a:cubicBezTo>
                        <a:lnTo>
                          <a:pt x="181814" y="5405917"/>
                        </a:lnTo>
                        <a:cubicBezTo>
                          <a:pt x="81401" y="5405917"/>
                          <a:pt x="0" y="5324516"/>
                          <a:pt x="0" y="5224103"/>
                        </a:cubicBezTo>
                        <a:lnTo>
                          <a:pt x="0" y="5219587"/>
                        </a:lnTo>
                        <a:close/>
                      </a:path>
                    </a:pathLst>
                  </a:custGeom>
                  <a:solidFill>
                    <a:schemeClr val="bg1">
                      <a:alpha val="1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 dirty="0"/>
                  </a:p>
                </p:txBody>
              </p:sp>
            </p:grpSp>
            <p:sp>
              <p:nvSpPr>
                <p:cNvPr id="77" name="Oval 101">
                  <a:extLst>
                    <a:ext uri="{FF2B5EF4-FFF2-40B4-BE49-F238E27FC236}">
                      <a16:creationId xmlns:a16="http://schemas.microsoft.com/office/drawing/2014/main" id="{D664D75C-CD3A-EC9F-87F7-ECEC7C11FAA8}"/>
                    </a:ext>
                  </a:extLst>
                </p:cNvPr>
                <p:cNvSpPr/>
                <p:nvPr/>
              </p:nvSpPr>
              <p:spPr>
                <a:xfrm>
                  <a:off x="6092328" y="2944026"/>
                  <a:ext cx="817546" cy="817546"/>
                </a:xfrm>
                <a:prstGeom prst="ellipse">
                  <a:avLst/>
                </a:prstGeom>
                <a:solidFill>
                  <a:srgbClr val="EBECF9"/>
                </a:solidFill>
                <a:ln>
                  <a:noFill/>
                </a:ln>
                <a:effectLst>
                  <a:outerShdw blurRad="50800" dist="38100" dir="2700000" algn="tl" rotWithShape="0">
                    <a:srgbClr val="4757B8">
                      <a:alpha val="40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75" name="두루마리 모양: 가로로 말림 74">
                <a:extLst>
                  <a:ext uri="{FF2B5EF4-FFF2-40B4-BE49-F238E27FC236}">
                    <a16:creationId xmlns:a16="http://schemas.microsoft.com/office/drawing/2014/main" id="{D33617A4-DAF3-622A-383E-4D62C1E4DCB5}"/>
                  </a:ext>
                </a:extLst>
              </p:cNvPr>
              <p:cNvSpPr/>
              <p:nvPr/>
            </p:nvSpPr>
            <p:spPr>
              <a:xfrm>
                <a:off x="6060250" y="3172616"/>
                <a:ext cx="458203" cy="414215"/>
              </a:xfrm>
              <a:prstGeom prst="horizontalScroll">
                <a:avLst/>
              </a:prstGeom>
              <a:solidFill>
                <a:srgbClr val="8790D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pic>
          <p:nvPicPr>
            <p:cNvPr id="72" name="Picture 56">
              <a:extLst>
                <a:ext uri="{FF2B5EF4-FFF2-40B4-BE49-F238E27FC236}">
                  <a16:creationId xmlns:a16="http://schemas.microsoft.com/office/drawing/2014/main" id="{A6729B8E-2D87-9A20-CE5E-CFD5EE20966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37640" y="463715"/>
              <a:ext cx="3931651" cy="5948634"/>
            </a:xfrm>
            <a:prstGeom prst="rect">
              <a:avLst/>
            </a:prstGeom>
          </p:spPr>
        </p:pic>
      </p:grpSp>
      <p:grpSp>
        <p:nvGrpSpPr>
          <p:cNvPr id="80" name="그룹 79">
            <a:extLst>
              <a:ext uri="{FF2B5EF4-FFF2-40B4-BE49-F238E27FC236}">
                <a16:creationId xmlns:a16="http://schemas.microsoft.com/office/drawing/2014/main" id="{0D88C20E-22C4-0974-5FB7-72DE87EA2746}"/>
              </a:ext>
            </a:extLst>
          </p:cNvPr>
          <p:cNvGrpSpPr/>
          <p:nvPr/>
        </p:nvGrpSpPr>
        <p:grpSpPr>
          <a:xfrm>
            <a:off x="2016550" y="630870"/>
            <a:ext cx="3931651" cy="5948634"/>
            <a:chOff x="7876990" y="594656"/>
            <a:chExt cx="3931651" cy="5948634"/>
          </a:xfrm>
        </p:grpSpPr>
        <p:sp>
          <p:nvSpPr>
            <p:cNvPr id="81" name="Rectangle: Rounded Corners 148">
              <a:extLst>
                <a:ext uri="{FF2B5EF4-FFF2-40B4-BE49-F238E27FC236}">
                  <a16:creationId xmlns:a16="http://schemas.microsoft.com/office/drawing/2014/main" id="{5621D9B2-03E6-9A6E-217E-36AD257C9007}"/>
                </a:ext>
              </a:extLst>
            </p:cNvPr>
            <p:cNvSpPr/>
            <p:nvPr/>
          </p:nvSpPr>
          <p:spPr>
            <a:xfrm>
              <a:off x="8553532" y="753324"/>
              <a:ext cx="2561481" cy="5429250"/>
            </a:xfrm>
            <a:prstGeom prst="roundRect">
              <a:avLst>
                <a:gd name="adj" fmla="val 7098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2" name="그룹 81">
              <a:extLst>
                <a:ext uri="{FF2B5EF4-FFF2-40B4-BE49-F238E27FC236}">
                  <a16:creationId xmlns:a16="http://schemas.microsoft.com/office/drawing/2014/main" id="{76410C79-1331-DDB0-E030-BF21ADE66F02}"/>
                </a:ext>
              </a:extLst>
            </p:cNvPr>
            <p:cNvGrpSpPr/>
            <p:nvPr/>
          </p:nvGrpSpPr>
          <p:grpSpPr>
            <a:xfrm>
              <a:off x="10480050" y="1552763"/>
              <a:ext cx="636241" cy="914400"/>
              <a:chOff x="5109736" y="3501498"/>
              <a:chExt cx="636241" cy="914400"/>
            </a:xfrm>
            <a:solidFill>
              <a:schemeClr val="bg2">
                <a:lumMod val="90000"/>
              </a:schemeClr>
            </a:solidFill>
          </p:grpSpPr>
          <p:sp>
            <p:nvSpPr>
              <p:cNvPr id="146" name="사각형: 둥근 모서리 145">
                <a:extLst>
                  <a:ext uri="{FF2B5EF4-FFF2-40B4-BE49-F238E27FC236}">
                    <a16:creationId xmlns:a16="http://schemas.microsoft.com/office/drawing/2014/main" id="{B4A91921-336E-262B-7298-372941DDCC0C}"/>
                  </a:ext>
                </a:extLst>
              </p:cNvPr>
              <p:cNvSpPr/>
              <p:nvPr/>
            </p:nvSpPr>
            <p:spPr>
              <a:xfrm>
                <a:off x="5109736" y="3501498"/>
                <a:ext cx="634963" cy="91440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47" name="직사각형 146">
                <a:extLst>
                  <a:ext uri="{FF2B5EF4-FFF2-40B4-BE49-F238E27FC236}">
                    <a16:creationId xmlns:a16="http://schemas.microsoft.com/office/drawing/2014/main" id="{DA1ADF19-2BAD-5427-C25B-247F8483DFFF}"/>
                  </a:ext>
                </a:extLst>
              </p:cNvPr>
              <p:cNvSpPr/>
              <p:nvPr/>
            </p:nvSpPr>
            <p:spPr>
              <a:xfrm>
                <a:off x="5429997" y="4182260"/>
                <a:ext cx="315980" cy="23363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83" name="Rectangle: Top Corners Rounded 149">
              <a:extLst>
                <a:ext uri="{FF2B5EF4-FFF2-40B4-BE49-F238E27FC236}">
                  <a16:creationId xmlns:a16="http://schemas.microsoft.com/office/drawing/2014/main" id="{E2BA011C-AA12-E0AC-EE35-4EB58E93E563}"/>
                </a:ext>
              </a:extLst>
            </p:cNvPr>
            <p:cNvSpPr/>
            <p:nvPr/>
          </p:nvSpPr>
          <p:spPr>
            <a:xfrm>
              <a:off x="8553532" y="753323"/>
              <a:ext cx="2561481" cy="1085851"/>
            </a:xfrm>
            <a:prstGeom prst="round2SameRect">
              <a:avLst>
                <a:gd name="adj1" fmla="val 16667"/>
                <a:gd name="adj2" fmla="val 20175"/>
              </a:avLst>
            </a:prstGeom>
            <a:gradFill>
              <a:gsLst>
                <a:gs pos="100000">
                  <a:srgbClr val="4757B8"/>
                </a:gs>
                <a:gs pos="38000">
                  <a:srgbClr val="7983D7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4" name="그룹 83">
              <a:extLst>
                <a:ext uri="{FF2B5EF4-FFF2-40B4-BE49-F238E27FC236}">
                  <a16:creationId xmlns:a16="http://schemas.microsoft.com/office/drawing/2014/main" id="{65DD5786-CE1F-0CFD-B999-9346CB3DB28E}"/>
                </a:ext>
              </a:extLst>
            </p:cNvPr>
            <p:cNvGrpSpPr/>
            <p:nvPr/>
          </p:nvGrpSpPr>
          <p:grpSpPr>
            <a:xfrm>
              <a:off x="9629681" y="1083650"/>
              <a:ext cx="1095948" cy="425196"/>
              <a:chOff x="3906460" y="3038948"/>
              <a:chExt cx="1095948" cy="425196"/>
            </a:xfrm>
          </p:grpSpPr>
          <p:sp>
            <p:nvSpPr>
              <p:cNvPr id="140" name="타원 139">
                <a:extLst>
                  <a:ext uri="{FF2B5EF4-FFF2-40B4-BE49-F238E27FC236}">
                    <a16:creationId xmlns:a16="http://schemas.microsoft.com/office/drawing/2014/main" id="{7C76EB17-2518-196C-AA0C-02CFA3C0A57C}"/>
                  </a:ext>
                </a:extLst>
              </p:cNvPr>
              <p:cNvSpPr/>
              <p:nvPr/>
            </p:nvSpPr>
            <p:spPr>
              <a:xfrm flipH="1" flipV="1">
                <a:off x="4946037" y="3071043"/>
                <a:ext cx="45719" cy="4571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41" name="타원 140">
                <a:extLst>
                  <a:ext uri="{FF2B5EF4-FFF2-40B4-BE49-F238E27FC236}">
                    <a16:creationId xmlns:a16="http://schemas.microsoft.com/office/drawing/2014/main" id="{6FC31A54-CF38-BCEE-CA49-1A4630226AFE}"/>
                  </a:ext>
                </a:extLst>
              </p:cNvPr>
              <p:cNvSpPr/>
              <p:nvPr/>
            </p:nvSpPr>
            <p:spPr>
              <a:xfrm flipH="1" flipV="1">
                <a:off x="4947645" y="3232925"/>
                <a:ext cx="45719" cy="4571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42" name="타원 141">
                <a:extLst>
                  <a:ext uri="{FF2B5EF4-FFF2-40B4-BE49-F238E27FC236}">
                    <a16:creationId xmlns:a16="http://schemas.microsoft.com/office/drawing/2014/main" id="{1CBA1FA5-4021-62DE-DA33-D0A7FF930DE1}"/>
                  </a:ext>
                </a:extLst>
              </p:cNvPr>
              <p:cNvSpPr/>
              <p:nvPr/>
            </p:nvSpPr>
            <p:spPr>
              <a:xfrm flipH="1" flipV="1">
                <a:off x="4946037" y="3386123"/>
                <a:ext cx="45719" cy="4571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cxnSp>
            <p:nvCxnSpPr>
              <p:cNvPr id="143" name="직선 연결선 142">
                <a:extLst>
                  <a:ext uri="{FF2B5EF4-FFF2-40B4-BE49-F238E27FC236}">
                    <a16:creationId xmlns:a16="http://schemas.microsoft.com/office/drawing/2014/main" id="{BC322D46-1945-3FA3-D0CB-74695016F57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1191" y="3102782"/>
                <a:ext cx="0" cy="342762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4" name="Rectangle: Rounded Corners 158">
                <a:extLst>
                  <a:ext uri="{FF2B5EF4-FFF2-40B4-BE49-F238E27FC236}">
                    <a16:creationId xmlns:a16="http://schemas.microsoft.com/office/drawing/2014/main" id="{2BC87D67-AFF3-520D-2615-5D93E469A4B3}"/>
                  </a:ext>
                </a:extLst>
              </p:cNvPr>
              <p:cNvSpPr/>
              <p:nvPr/>
            </p:nvSpPr>
            <p:spPr>
              <a:xfrm>
                <a:off x="3906460" y="3330621"/>
                <a:ext cx="1095948" cy="133523"/>
              </a:xfrm>
              <a:prstGeom prst="roundRect">
                <a:avLst>
                  <a:gd name="adj" fmla="val 7098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45" name="Rectangle: Rounded Corners 158">
                <a:extLst>
                  <a:ext uri="{FF2B5EF4-FFF2-40B4-BE49-F238E27FC236}">
                    <a16:creationId xmlns:a16="http://schemas.microsoft.com/office/drawing/2014/main" id="{B52E2A3A-5AF9-9561-13C4-D41926765FD3}"/>
                  </a:ext>
                </a:extLst>
              </p:cNvPr>
              <p:cNvSpPr/>
              <p:nvPr/>
            </p:nvSpPr>
            <p:spPr>
              <a:xfrm>
                <a:off x="3906460" y="3038948"/>
                <a:ext cx="1095948" cy="133523"/>
              </a:xfrm>
              <a:prstGeom prst="roundRect">
                <a:avLst>
                  <a:gd name="adj" fmla="val 7098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85" name="그룹 84">
              <a:extLst>
                <a:ext uri="{FF2B5EF4-FFF2-40B4-BE49-F238E27FC236}">
                  <a16:creationId xmlns:a16="http://schemas.microsoft.com/office/drawing/2014/main" id="{4A99DC75-9436-8313-0BA3-EE90DA3FA07A}"/>
                </a:ext>
              </a:extLst>
            </p:cNvPr>
            <p:cNvGrpSpPr/>
            <p:nvPr/>
          </p:nvGrpSpPr>
          <p:grpSpPr>
            <a:xfrm>
              <a:off x="8897378" y="1019281"/>
              <a:ext cx="477090" cy="551087"/>
              <a:chOff x="3403441" y="2998452"/>
              <a:chExt cx="477090" cy="551087"/>
            </a:xfrm>
          </p:grpSpPr>
          <p:sp>
            <p:nvSpPr>
              <p:cNvPr id="137" name="Rectangle 163">
                <a:extLst>
                  <a:ext uri="{FF2B5EF4-FFF2-40B4-BE49-F238E27FC236}">
                    <a16:creationId xmlns:a16="http://schemas.microsoft.com/office/drawing/2014/main" id="{7B35188B-E0B9-786A-DD26-03222C668553}"/>
                  </a:ext>
                </a:extLst>
              </p:cNvPr>
              <p:cNvSpPr/>
              <p:nvPr/>
            </p:nvSpPr>
            <p:spPr>
              <a:xfrm>
                <a:off x="3403441" y="3408972"/>
                <a:ext cx="477090" cy="140567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900" b="1" i="0" dirty="0">
                    <a:solidFill>
                      <a:schemeClr val="bg1"/>
                    </a:solidFill>
                    <a:effectLst/>
                    <a:latin typeface="Segoe UI" panose="020B0502040204020203" pitchFamily="34" charset="0"/>
                    <a:cs typeface="Segoe UI" panose="020B0502040204020203" pitchFamily="34" charset="0"/>
                  </a:rPr>
                  <a:t>211m</a:t>
                </a:r>
              </a:p>
            </p:txBody>
          </p:sp>
          <p:sp>
            <p:nvSpPr>
              <p:cNvPr id="138" name="화살표: 위쪽 137">
                <a:extLst>
                  <a:ext uri="{FF2B5EF4-FFF2-40B4-BE49-F238E27FC236}">
                    <a16:creationId xmlns:a16="http://schemas.microsoft.com/office/drawing/2014/main" id="{A5CD0331-C339-B336-BAD8-D4AB6890FD8B}"/>
                  </a:ext>
                </a:extLst>
              </p:cNvPr>
              <p:cNvSpPr/>
              <p:nvPr/>
            </p:nvSpPr>
            <p:spPr>
              <a:xfrm rot="16200000">
                <a:off x="3463746" y="2956087"/>
                <a:ext cx="265889" cy="350619"/>
              </a:xfrm>
              <a:prstGeom prst="upArrow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39" name="직사각형 138">
                <a:extLst>
                  <a:ext uri="{FF2B5EF4-FFF2-40B4-BE49-F238E27FC236}">
                    <a16:creationId xmlns:a16="http://schemas.microsoft.com/office/drawing/2014/main" id="{13E99537-7EA2-A35B-9BE0-B16895DE2719}"/>
                  </a:ext>
                </a:extLst>
              </p:cNvPr>
              <p:cNvSpPr/>
              <p:nvPr/>
            </p:nvSpPr>
            <p:spPr>
              <a:xfrm>
                <a:off x="3655195" y="3068843"/>
                <a:ext cx="116804" cy="26589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</p:grpSp>
        <p:grpSp>
          <p:nvGrpSpPr>
            <p:cNvPr id="86" name="그룹 85">
              <a:extLst>
                <a:ext uri="{FF2B5EF4-FFF2-40B4-BE49-F238E27FC236}">
                  <a16:creationId xmlns:a16="http://schemas.microsoft.com/office/drawing/2014/main" id="{79354F89-11FA-B4A0-9A7A-C0C7DE823084}"/>
                </a:ext>
              </a:extLst>
            </p:cNvPr>
            <p:cNvGrpSpPr/>
            <p:nvPr/>
          </p:nvGrpSpPr>
          <p:grpSpPr>
            <a:xfrm>
              <a:off x="9967506" y="1839174"/>
              <a:ext cx="1228324" cy="4380295"/>
              <a:chOff x="4597192" y="3787909"/>
              <a:chExt cx="1228324" cy="4380295"/>
            </a:xfrm>
            <a:solidFill>
              <a:schemeClr val="bg1">
                <a:lumMod val="65000"/>
              </a:schemeClr>
            </a:solidFill>
          </p:grpSpPr>
          <p:sp>
            <p:nvSpPr>
              <p:cNvPr id="134" name="직사각형 133">
                <a:extLst>
                  <a:ext uri="{FF2B5EF4-FFF2-40B4-BE49-F238E27FC236}">
                    <a16:creationId xmlns:a16="http://schemas.microsoft.com/office/drawing/2014/main" id="{05B3C1F1-0EF7-3FAE-FBA2-12A399066B7D}"/>
                  </a:ext>
                </a:extLst>
              </p:cNvPr>
              <p:cNvSpPr/>
              <p:nvPr/>
            </p:nvSpPr>
            <p:spPr>
              <a:xfrm>
                <a:off x="4669104" y="3787909"/>
                <a:ext cx="171490" cy="242338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35" name="직사각형 134">
                <a:extLst>
                  <a:ext uri="{FF2B5EF4-FFF2-40B4-BE49-F238E27FC236}">
                    <a16:creationId xmlns:a16="http://schemas.microsoft.com/office/drawing/2014/main" id="{816B0AC9-B84E-9C8F-AD4D-6D139F9B7B6F}"/>
                  </a:ext>
                </a:extLst>
              </p:cNvPr>
              <p:cNvSpPr/>
              <p:nvPr/>
            </p:nvSpPr>
            <p:spPr>
              <a:xfrm rot="1800000">
                <a:off x="4609418" y="6436534"/>
                <a:ext cx="1216098" cy="8710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36" name="직사각형 135">
                <a:extLst>
                  <a:ext uri="{FF2B5EF4-FFF2-40B4-BE49-F238E27FC236}">
                    <a16:creationId xmlns:a16="http://schemas.microsoft.com/office/drawing/2014/main" id="{A36080EF-3300-B4DC-B3EA-1FEA8BF5B37E}"/>
                  </a:ext>
                </a:extLst>
              </p:cNvPr>
              <p:cNvSpPr/>
              <p:nvPr/>
            </p:nvSpPr>
            <p:spPr>
              <a:xfrm rot="253021">
                <a:off x="4597192" y="6194525"/>
                <a:ext cx="167585" cy="197367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</p:grpSp>
        <p:grpSp>
          <p:nvGrpSpPr>
            <p:cNvPr id="87" name="그룹 86">
              <a:extLst>
                <a:ext uri="{FF2B5EF4-FFF2-40B4-BE49-F238E27FC236}">
                  <a16:creationId xmlns:a16="http://schemas.microsoft.com/office/drawing/2014/main" id="{4FB2D090-DE80-51D0-ADFD-7EDEF433C25C}"/>
                </a:ext>
              </a:extLst>
            </p:cNvPr>
            <p:cNvGrpSpPr/>
            <p:nvPr/>
          </p:nvGrpSpPr>
          <p:grpSpPr>
            <a:xfrm>
              <a:off x="10725629" y="2601399"/>
              <a:ext cx="389384" cy="572232"/>
              <a:chOff x="5108458" y="4720893"/>
              <a:chExt cx="636241" cy="572232"/>
            </a:xfrm>
          </p:grpSpPr>
          <p:grpSp>
            <p:nvGrpSpPr>
              <p:cNvPr id="130" name="그룹 129">
                <a:extLst>
                  <a:ext uri="{FF2B5EF4-FFF2-40B4-BE49-F238E27FC236}">
                    <a16:creationId xmlns:a16="http://schemas.microsoft.com/office/drawing/2014/main" id="{FF88342F-89E0-A249-7DF1-E3DE0540FFD5}"/>
                  </a:ext>
                </a:extLst>
              </p:cNvPr>
              <p:cNvGrpSpPr/>
              <p:nvPr/>
            </p:nvGrpSpPr>
            <p:grpSpPr>
              <a:xfrm>
                <a:off x="5108458" y="4724945"/>
                <a:ext cx="636241" cy="568180"/>
                <a:chOff x="5109736" y="3501498"/>
                <a:chExt cx="636241" cy="914400"/>
              </a:xfrm>
              <a:solidFill>
                <a:schemeClr val="bg2">
                  <a:lumMod val="90000"/>
                </a:schemeClr>
              </a:solidFill>
            </p:grpSpPr>
            <p:sp>
              <p:nvSpPr>
                <p:cNvPr id="132" name="사각형: 둥근 모서리 131">
                  <a:extLst>
                    <a:ext uri="{FF2B5EF4-FFF2-40B4-BE49-F238E27FC236}">
                      <a16:creationId xmlns:a16="http://schemas.microsoft.com/office/drawing/2014/main" id="{04F93321-0705-C96B-0C2B-53E9B494D161}"/>
                    </a:ext>
                  </a:extLst>
                </p:cNvPr>
                <p:cNvSpPr/>
                <p:nvPr/>
              </p:nvSpPr>
              <p:spPr>
                <a:xfrm>
                  <a:off x="5109736" y="3501498"/>
                  <a:ext cx="634963" cy="91440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sp>
              <p:nvSpPr>
                <p:cNvPr id="133" name="직사각형 132">
                  <a:extLst>
                    <a:ext uri="{FF2B5EF4-FFF2-40B4-BE49-F238E27FC236}">
                      <a16:creationId xmlns:a16="http://schemas.microsoft.com/office/drawing/2014/main" id="{F1DDC368-D924-D7AC-2979-A0CB50B0E562}"/>
                    </a:ext>
                  </a:extLst>
                </p:cNvPr>
                <p:cNvSpPr/>
                <p:nvPr/>
              </p:nvSpPr>
              <p:spPr>
                <a:xfrm>
                  <a:off x="5429997" y="4182260"/>
                  <a:ext cx="315980" cy="23363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131" name="직사각형 130">
                <a:extLst>
                  <a:ext uri="{FF2B5EF4-FFF2-40B4-BE49-F238E27FC236}">
                    <a16:creationId xmlns:a16="http://schemas.microsoft.com/office/drawing/2014/main" id="{F16DC90E-59DF-BEB2-E965-4C6C1B76D679}"/>
                  </a:ext>
                </a:extLst>
              </p:cNvPr>
              <p:cNvSpPr/>
              <p:nvPr/>
            </p:nvSpPr>
            <p:spPr>
              <a:xfrm>
                <a:off x="5465672" y="4720893"/>
                <a:ext cx="278388" cy="192372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grpSp>
          <p:nvGrpSpPr>
            <p:cNvPr id="88" name="그룹 87">
              <a:extLst>
                <a:ext uri="{FF2B5EF4-FFF2-40B4-BE49-F238E27FC236}">
                  <a16:creationId xmlns:a16="http://schemas.microsoft.com/office/drawing/2014/main" id="{7509BE06-206B-97CB-35F9-2463B28CF2B2}"/>
                </a:ext>
              </a:extLst>
            </p:cNvPr>
            <p:cNvGrpSpPr/>
            <p:nvPr/>
          </p:nvGrpSpPr>
          <p:grpSpPr>
            <a:xfrm>
              <a:off x="8554795" y="3949258"/>
              <a:ext cx="461535" cy="883251"/>
              <a:chOff x="3184481" y="5897993"/>
              <a:chExt cx="461535" cy="883251"/>
            </a:xfrm>
          </p:grpSpPr>
          <p:grpSp>
            <p:nvGrpSpPr>
              <p:cNvPr id="114" name="그룹 113">
                <a:extLst>
                  <a:ext uri="{FF2B5EF4-FFF2-40B4-BE49-F238E27FC236}">
                    <a16:creationId xmlns:a16="http://schemas.microsoft.com/office/drawing/2014/main" id="{7CB1BC39-BB51-50D8-00EF-554738C18BD1}"/>
                  </a:ext>
                </a:extLst>
              </p:cNvPr>
              <p:cNvGrpSpPr/>
              <p:nvPr/>
            </p:nvGrpSpPr>
            <p:grpSpPr>
              <a:xfrm rot="9783876">
                <a:off x="3256632" y="5897993"/>
                <a:ext cx="389384" cy="572232"/>
                <a:chOff x="5108458" y="4720893"/>
                <a:chExt cx="636241" cy="572232"/>
              </a:xfrm>
            </p:grpSpPr>
            <p:grpSp>
              <p:nvGrpSpPr>
                <p:cNvPr id="126" name="그룹 125">
                  <a:extLst>
                    <a:ext uri="{FF2B5EF4-FFF2-40B4-BE49-F238E27FC236}">
                      <a16:creationId xmlns:a16="http://schemas.microsoft.com/office/drawing/2014/main" id="{A99360FA-7EEC-FCB2-AF18-6D814A68CC51}"/>
                    </a:ext>
                  </a:extLst>
                </p:cNvPr>
                <p:cNvGrpSpPr/>
                <p:nvPr/>
              </p:nvGrpSpPr>
              <p:grpSpPr>
                <a:xfrm>
                  <a:off x="5108458" y="4724945"/>
                  <a:ext cx="636241" cy="568180"/>
                  <a:chOff x="5109736" y="3501498"/>
                  <a:chExt cx="636241" cy="914400"/>
                </a:xfrm>
                <a:solidFill>
                  <a:schemeClr val="bg2">
                    <a:lumMod val="90000"/>
                  </a:schemeClr>
                </a:solidFill>
              </p:grpSpPr>
              <p:sp>
                <p:nvSpPr>
                  <p:cNvPr id="128" name="사각형: 둥근 모서리 127">
                    <a:extLst>
                      <a:ext uri="{FF2B5EF4-FFF2-40B4-BE49-F238E27FC236}">
                        <a16:creationId xmlns:a16="http://schemas.microsoft.com/office/drawing/2014/main" id="{C046F044-308C-3071-632C-80EE5DB65BA9}"/>
                      </a:ext>
                    </a:extLst>
                  </p:cNvPr>
                  <p:cNvSpPr/>
                  <p:nvPr/>
                </p:nvSpPr>
                <p:spPr>
                  <a:xfrm>
                    <a:off x="5109736" y="3501498"/>
                    <a:ext cx="634963" cy="91440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  <p:sp>
                <p:nvSpPr>
                  <p:cNvPr id="129" name="직사각형 128">
                    <a:extLst>
                      <a:ext uri="{FF2B5EF4-FFF2-40B4-BE49-F238E27FC236}">
                        <a16:creationId xmlns:a16="http://schemas.microsoft.com/office/drawing/2014/main" id="{ED5D04CF-6190-8347-14B7-A144D33EB4EE}"/>
                      </a:ext>
                    </a:extLst>
                  </p:cNvPr>
                  <p:cNvSpPr/>
                  <p:nvPr/>
                </p:nvSpPr>
                <p:spPr>
                  <a:xfrm>
                    <a:off x="5429997" y="4182260"/>
                    <a:ext cx="315980" cy="233638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</p:grpSp>
            <p:sp>
              <p:nvSpPr>
                <p:cNvPr id="127" name="직사각형 126">
                  <a:extLst>
                    <a:ext uri="{FF2B5EF4-FFF2-40B4-BE49-F238E27FC236}">
                      <a16:creationId xmlns:a16="http://schemas.microsoft.com/office/drawing/2014/main" id="{134929E1-F43F-E18A-0876-71B560096E23}"/>
                    </a:ext>
                  </a:extLst>
                </p:cNvPr>
                <p:cNvSpPr/>
                <p:nvPr/>
              </p:nvSpPr>
              <p:spPr>
                <a:xfrm>
                  <a:off x="5465672" y="4720893"/>
                  <a:ext cx="278388" cy="192372"/>
                </a:xfrm>
                <a:prstGeom prst="rect">
                  <a:avLst/>
                </a:prstGeom>
                <a:solidFill>
                  <a:schemeClr val="bg2">
                    <a:lumMod val="9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sp>
            <p:nvSpPr>
              <p:cNvPr id="115" name="사각형: 둥근 모서리 114">
                <a:extLst>
                  <a:ext uri="{FF2B5EF4-FFF2-40B4-BE49-F238E27FC236}">
                    <a16:creationId xmlns:a16="http://schemas.microsoft.com/office/drawing/2014/main" id="{0F9902DA-5405-C0E4-897E-1E1CBF66C502}"/>
                  </a:ext>
                </a:extLst>
              </p:cNvPr>
              <p:cNvSpPr/>
              <p:nvPr/>
            </p:nvSpPr>
            <p:spPr>
              <a:xfrm>
                <a:off x="3186408" y="5968813"/>
                <a:ext cx="363150" cy="812431"/>
              </a:xfrm>
              <a:prstGeom prst="round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116" name="그룹 115">
                <a:extLst>
                  <a:ext uri="{FF2B5EF4-FFF2-40B4-BE49-F238E27FC236}">
                    <a16:creationId xmlns:a16="http://schemas.microsoft.com/office/drawing/2014/main" id="{18CD3721-863B-9077-41FC-47CC97F024EA}"/>
                  </a:ext>
                </a:extLst>
              </p:cNvPr>
              <p:cNvGrpSpPr/>
              <p:nvPr/>
            </p:nvGrpSpPr>
            <p:grpSpPr>
              <a:xfrm rot="10800000">
                <a:off x="3184481" y="5980542"/>
                <a:ext cx="255542" cy="354258"/>
                <a:chOff x="5108458" y="4720893"/>
                <a:chExt cx="636241" cy="572232"/>
              </a:xfrm>
            </p:grpSpPr>
            <p:grpSp>
              <p:nvGrpSpPr>
                <p:cNvPr id="122" name="그룹 121">
                  <a:extLst>
                    <a:ext uri="{FF2B5EF4-FFF2-40B4-BE49-F238E27FC236}">
                      <a16:creationId xmlns:a16="http://schemas.microsoft.com/office/drawing/2014/main" id="{6AE4BE7C-FE02-A08A-2450-94EEEFE5D2EA}"/>
                    </a:ext>
                  </a:extLst>
                </p:cNvPr>
                <p:cNvGrpSpPr/>
                <p:nvPr/>
              </p:nvGrpSpPr>
              <p:grpSpPr>
                <a:xfrm>
                  <a:off x="5108458" y="4724945"/>
                  <a:ext cx="636241" cy="568180"/>
                  <a:chOff x="5109736" y="3501498"/>
                  <a:chExt cx="636241" cy="914400"/>
                </a:xfrm>
                <a:solidFill>
                  <a:schemeClr val="bg2">
                    <a:lumMod val="90000"/>
                  </a:schemeClr>
                </a:solidFill>
              </p:grpSpPr>
              <p:sp>
                <p:nvSpPr>
                  <p:cNvPr id="124" name="사각형: 둥근 모서리 123">
                    <a:extLst>
                      <a:ext uri="{FF2B5EF4-FFF2-40B4-BE49-F238E27FC236}">
                        <a16:creationId xmlns:a16="http://schemas.microsoft.com/office/drawing/2014/main" id="{A59CE528-FDC3-7D6F-7756-197E388257CF}"/>
                      </a:ext>
                    </a:extLst>
                  </p:cNvPr>
                  <p:cNvSpPr/>
                  <p:nvPr/>
                </p:nvSpPr>
                <p:spPr>
                  <a:xfrm>
                    <a:off x="5109736" y="3501498"/>
                    <a:ext cx="634963" cy="91440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  <p:sp>
                <p:nvSpPr>
                  <p:cNvPr id="125" name="직사각형 124">
                    <a:extLst>
                      <a:ext uri="{FF2B5EF4-FFF2-40B4-BE49-F238E27FC236}">
                        <a16:creationId xmlns:a16="http://schemas.microsoft.com/office/drawing/2014/main" id="{B490B57D-EF97-9C13-3C17-BDB9754F9B51}"/>
                      </a:ext>
                    </a:extLst>
                  </p:cNvPr>
                  <p:cNvSpPr/>
                  <p:nvPr/>
                </p:nvSpPr>
                <p:spPr>
                  <a:xfrm>
                    <a:off x="5429997" y="4182260"/>
                    <a:ext cx="315980" cy="233638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</p:grpSp>
            <p:sp>
              <p:nvSpPr>
                <p:cNvPr id="123" name="직사각형 122">
                  <a:extLst>
                    <a:ext uri="{FF2B5EF4-FFF2-40B4-BE49-F238E27FC236}">
                      <a16:creationId xmlns:a16="http://schemas.microsoft.com/office/drawing/2014/main" id="{B9E89CA2-95AD-8785-6D9B-477A009D1F3B}"/>
                    </a:ext>
                  </a:extLst>
                </p:cNvPr>
                <p:cNvSpPr/>
                <p:nvPr/>
              </p:nvSpPr>
              <p:spPr>
                <a:xfrm>
                  <a:off x="5465672" y="4720893"/>
                  <a:ext cx="278388" cy="192372"/>
                </a:xfrm>
                <a:prstGeom prst="rect">
                  <a:avLst/>
                </a:prstGeom>
                <a:solidFill>
                  <a:schemeClr val="bg2">
                    <a:lumMod val="9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  <p:grpSp>
            <p:nvGrpSpPr>
              <p:cNvPr id="117" name="그룹 116">
                <a:extLst>
                  <a:ext uri="{FF2B5EF4-FFF2-40B4-BE49-F238E27FC236}">
                    <a16:creationId xmlns:a16="http://schemas.microsoft.com/office/drawing/2014/main" id="{D1BCB066-550F-3B47-B2BE-070088380AEE}"/>
                  </a:ext>
                </a:extLst>
              </p:cNvPr>
              <p:cNvGrpSpPr/>
              <p:nvPr/>
            </p:nvGrpSpPr>
            <p:grpSpPr>
              <a:xfrm rot="10800000">
                <a:off x="3184481" y="6426986"/>
                <a:ext cx="255542" cy="354258"/>
                <a:chOff x="5108458" y="4720893"/>
                <a:chExt cx="636241" cy="572232"/>
              </a:xfrm>
            </p:grpSpPr>
            <p:grpSp>
              <p:nvGrpSpPr>
                <p:cNvPr id="118" name="그룹 117">
                  <a:extLst>
                    <a:ext uri="{FF2B5EF4-FFF2-40B4-BE49-F238E27FC236}">
                      <a16:creationId xmlns:a16="http://schemas.microsoft.com/office/drawing/2014/main" id="{CB4A3AD8-9549-18DF-49DE-C9C57C342DEB}"/>
                    </a:ext>
                  </a:extLst>
                </p:cNvPr>
                <p:cNvGrpSpPr/>
                <p:nvPr/>
              </p:nvGrpSpPr>
              <p:grpSpPr>
                <a:xfrm>
                  <a:off x="5108458" y="4724945"/>
                  <a:ext cx="636241" cy="568180"/>
                  <a:chOff x="5109736" y="3501498"/>
                  <a:chExt cx="636241" cy="914400"/>
                </a:xfrm>
                <a:solidFill>
                  <a:schemeClr val="bg2">
                    <a:lumMod val="90000"/>
                  </a:schemeClr>
                </a:solidFill>
              </p:grpSpPr>
              <p:sp>
                <p:nvSpPr>
                  <p:cNvPr id="120" name="사각형: 둥근 모서리 119">
                    <a:extLst>
                      <a:ext uri="{FF2B5EF4-FFF2-40B4-BE49-F238E27FC236}">
                        <a16:creationId xmlns:a16="http://schemas.microsoft.com/office/drawing/2014/main" id="{42C86419-26CB-0FD1-C2CF-5D18ADA8C409}"/>
                      </a:ext>
                    </a:extLst>
                  </p:cNvPr>
                  <p:cNvSpPr/>
                  <p:nvPr/>
                </p:nvSpPr>
                <p:spPr>
                  <a:xfrm>
                    <a:off x="5109736" y="3501498"/>
                    <a:ext cx="634963" cy="91440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  <p:sp>
                <p:nvSpPr>
                  <p:cNvPr id="121" name="직사각형 120">
                    <a:extLst>
                      <a:ext uri="{FF2B5EF4-FFF2-40B4-BE49-F238E27FC236}">
                        <a16:creationId xmlns:a16="http://schemas.microsoft.com/office/drawing/2014/main" id="{1ED66BA7-2BB8-6842-12A0-A3944DB57178}"/>
                      </a:ext>
                    </a:extLst>
                  </p:cNvPr>
                  <p:cNvSpPr/>
                  <p:nvPr/>
                </p:nvSpPr>
                <p:spPr>
                  <a:xfrm>
                    <a:off x="5429997" y="4182260"/>
                    <a:ext cx="315980" cy="233638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</p:grpSp>
            <p:sp>
              <p:nvSpPr>
                <p:cNvPr id="119" name="직사각형 118">
                  <a:extLst>
                    <a:ext uri="{FF2B5EF4-FFF2-40B4-BE49-F238E27FC236}">
                      <a16:creationId xmlns:a16="http://schemas.microsoft.com/office/drawing/2014/main" id="{C63EBB08-62A1-1767-5BA2-12748DC45838}"/>
                    </a:ext>
                  </a:extLst>
                </p:cNvPr>
                <p:cNvSpPr/>
                <p:nvPr/>
              </p:nvSpPr>
              <p:spPr>
                <a:xfrm>
                  <a:off x="5465672" y="4720893"/>
                  <a:ext cx="278388" cy="192372"/>
                </a:xfrm>
                <a:prstGeom prst="rect">
                  <a:avLst/>
                </a:prstGeom>
                <a:solidFill>
                  <a:schemeClr val="bg2">
                    <a:lumMod val="9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</p:grpSp>
        </p:grp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61F901F6-95DC-8846-F5BA-C20AED1D1009}"/>
                </a:ext>
              </a:extLst>
            </p:cNvPr>
            <p:cNvSpPr/>
            <p:nvPr/>
          </p:nvSpPr>
          <p:spPr>
            <a:xfrm rot="18060212">
              <a:off x="9267624" y="1954544"/>
              <a:ext cx="174780" cy="1733591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grpSp>
          <p:nvGrpSpPr>
            <p:cNvPr id="90" name="그룹 89">
              <a:extLst>
                <a:ext uri="{FF2B5EF4-FFF2-40B4-BE49-F238E27FC236}">
                  <a16:creationId xmlns:a16="http://schemas.microsoft.com/office/drawing/2014/main" id="{55A01BC4-F680-4B41-58DA-9227CD8736F9}"/>
                </a:ext>
              </a:extLst>
            </p:cNvPr>
            <p:cNvGrpSpPr/>
            <p:nvPr/>
          </p:nvGrpSpPr>
          <p:grpSpPr>
            <a:xfrm>
              <a:off x="9091700" y="1839174"/>
              <a:ext cx="514014" cy="4434165"/>
              <a:chOff x="3721386" y="3787909"/>
              <a:chExt cx="514014" cy="4434165"/>
            </a:xfrm>
            <a:solidFill>
              <a:schemeClr val="bg1">
                <a:lumMod val="50000"/>
              </a:schemeClr>
            </a:solidFill>
          </p:grpSpPr>
          <p:sp>
            <p:nvSpPr>
              <p:cNvPr id="111" name="직사각형 110">
                <a:extLst>
                  <a:ext uri="{FF2B5EF4-FFF2-40B4-BE49-F238E27FC236}">
                    <a16:creationId xmlns:a16="http://schemas.microsoft.com/office/drawing/2014/main" id="{587E6975-C80D-2E78-8F6F-85EFB3AE403F}"/>
                  </a:ext>
                </a:extLst>
              </p:cNvPr>
              <p:cNvSpPr/>
              <p:nvPr/>
            </p:nvSpPr>
            <p:spPr>
              <a:xfrm>
                <a:off x="3721386" y="3787909"/>
                <a:ext cx="356583" cy="166810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12" name="직사각형 111">
                <a:extLst>
                  <a:ext uri="{FF2B5EF4-FFF2-40B4-BE49-F238E27FC236}">
                    <a16:creationId xmlns:a16="http://schemas.microsoft.com/office/drawing/2014/main" id="{65AC5B51-AF81-698D-3ACC-FB57FC21CBBA}"/>
                  </a:ext>
                </a:extLst>
              </p:cNvPr>
              <p:cNvSpPr/>
              <p:nvPr/>
            </p:nvSpPr>
            <p:spPr>
              <a:xfrm rot="719744">
                <a:off x="3874688" y="6515598"/>
                <a:ext cx="356559" cy="170647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13" name="직사각형 112">
                <a:extLst>
                  <a:ext uri="{FF2B5EF4-FFF2-40B4-BE49-F238E27FC236}">
                    <a16:creationId xmlns:a16="http://schemas.microsoft.com/office/drawing/2014/main" id="{AE78E340-2AEF-61AB-4608-1964103DB461}"/>
                  </a:ext>
                </a:extLst>
              </p:cNvPr>
              <p:cNvSpPr/>
              <p:nvPr/>
            </p:nvSpPr>
            <p:spPr>
              <a:xfrm rot="20643514">
                <a:off x="3890014" y="5369180"/>
                <a:ext cx="345386" cy="128109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grpSp>
          <p:nvGrpSpPr>
            <p:cNvPr id="91" name="그룹 90">
              <a:extLst>
                <a:ext uri="{FF2B5EF4-FFF2-40B4-BE49-F238E27FC236}">
                  <a16:creationId xmlns:a16="http://schemas.microsoft.com/office/drawing/2014/main" id="{14675607-49B2-C45E-529F-72155F588BD4}"/>
                </a:ext>
              </a:extLst>
            </p:cNvPr>
            <p:cNvGrpSpPr/>
            <p:nvPr/>
          </p:nvGrpSpPr>
          <p:grpSpPr>
            <a:xfrm>
              <a:off x="8788908" y="5136188"/>
              <a:ext cx="2099901" cy="774821"/>
              <a:chOff x="3418594" y="7084923"/>
              <a:chExt cx="2099901" cy="774821"/>
            </a:xfrm>
          </p:grpSpPr>
          <p:sp>
            <p:nvSpPr>
              <p:cNvPr id="97" name="Rectangle: Rounded Corners 158">
                <a:extLst>
                  <a:ext uri="{FF2B5EF4-FFF2-40B4-BE49-F238E27FC236}">
                    <a16:creationId xmlns:a16="http://schemas.microsoft.com/office/drawing/2014/main" id="{B4E17B39-B64D-E362-0E8B-A39B52BBF795}"/>
                  </a:ext>
                </a:extLst>
              </p:cNvPr>
              <p:cNvSpPr/>
              <p:nvPr/>
            </p:nvSpPr>
            <p:spPr>
              <a:xfrm>
                <a:off x="3418594" y="7084923"/>
                <a:ext cx="2099901" cy="774821"/>
              </a:xfrm>
              <a:prstGeom prst="roundRect">
                <a:avLst>
                  <a:gd name="adj" fmla="val 7098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srgbClr val="7983D7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8" name="Oval 161">
                <a:extLst>
                  <a:ext uri="{FF2B5EF4-FFF2-40B4-BE49-F238E27FC236}">
                    <a16:creationId xmlns:a16="http://schemas.microsoft.com/office/drawing/2014/main" id="{0D57321B-B8FA-A511-F408-EF466B326FF9}"/>
                  </a:ext>
                </a:extLst>
              </p:cNvPr>
              <p:cNvSpPr/>
              <p:nvPr/>
            </p:nvSpPr>
            <p:spPr>
              <a:xfrm>
                <a:off x="3497583" y="7167845"/>
                <a:ext cx="180023" cy="180023"/>
              </a:xfrm>
              <a:prstGeom prst="ellipse">
                <a:avLst/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십자형 98">
                <a:extLst>
                  <a:ext uri="{FF2B5EF4-FFF2-40B4-BE49-F238E27FC236}">
                    <a16:creationId xmlns:a16="http://schemas.microsoft.com/office/drawing/2014/main" id="{11FDBF89-A567-FBBC-DCA4-E521148CDC84}"/>
                  </a:ext>
                </a:extLst>
              </p:cNvPr>
              <p:cNvSpPr/>
              <p:nvPr/>
            </p:nvSpPr>
            <p:spPr>
              <a:xfrm rot="18900000" flipH="1">
                <a:off x="3537809" y="7212767"/>
                <a:ext cx="99569" cy="99569"/>
              </a:xfrm>
              <a:prstGeom prst="plus">
                <a:avLst>
                  <a:gd name="adj" fmla="val 44823"/>
                </a:avLst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00" name="타원 99">
                <a:extLst>
                  <a:ext uri="{FF2B5EF4-FFF2-40B4-BE49-F238E27FC236}">
                    <a16:creationId xmlns:a16="http://schemas.microsoft.com/office/drawing/2014/main" id="{0354DA7E-EBBD-22F6-E7A0-57B20D66AEB8}"/>
                  </a:ext>
                </a:extLst>
              </p:cNvPr>
              <p:cNvSpPr/>
              <p:nvPr/>
            </p:nvSpPr>
            <p:spPr>
              <a:xfrm>
                <a:off x="4993894" y="7167845"/>
                <a:ext cx="180023" cy="18002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7983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01" name="타원 100">
                <a:extLst>
                  <a:ext uri="{FF2B5EF4-FFF2-40B4-BE49-F238E27FC236}">
                    <a16:creationId xmlns:a16="http://schemas.microsoft.com/office/drawing/2014/main" id="{A3634EB7-EF5C-EF26-9576-70D43BDE7ABC}"/>
                  </a:ext>
                </a:extLst>
              </p:cNvPr>
              <p:cNvSpPr/>
              <p:nvPr/>
            </p:nvSpPr>
            <p:spPr>
              <a:xfrm>
                <a:off x="5257388" y="7167845"/>
                <a:ext cx="180023" cy="18002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7983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02" name="별: 꼭짓점 5개 101">
                <a:extLst>
                  <a:ext uri="{FF2B5EF4-FFF2-40B4-BE49-F238E27FC236}">
                    <a16:creationId xmlns:a16="http://schemas.microsoft.com/office/drawing/2014/main" id="{3AF0438C-4879-874F-ECFD-A532C7EDCA3D}"/>
                  </a:ext>
                </a:extLst>
              </p:cNvPr>
              <p:cNvSpPr/>
              <p:nvPr/>
            </p:nvSpPr>
            <p:spPr>
              <a:xfrm>
                <a:off x="5298608" y="7209065"/>
                <a:ext cx="97581" cy="97581"/>
              </a:xfrm>
              <a:prstGeom prst="star5">
                <a:avLst>
                  <a:gd name="adj" fmla="val 22577"/>
                  <a:gd name="hf" fmla="val 105146"/>
                  <a:gd name="vf" fmla="val 110557"/>
                </a:avLst>
              </a:prstGeom>
              <a:solidFill>
                <a:srgbClr val="7983D7"/>
              </a:solidFill>
              <a:ln>
                <a:solidFill>
                  <a:srgbClr val="7983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grpSp>
            <p:nvGrpSpPr>
              <p:cNvPr id="103" name="그룹 102">
                <a:extLst>
                  <a:ext uri="{FF2B5EF4-FFF2-40B4-BE49-F238E27FC236}">
                    <a16:creationId xmlns:a16="http://schemas.microsoft.com/office/drawing/2014/main" id="{D2C67FD1-1E66-8190-F752-4905689E62F7}"/>
                  </a:ext>
                </a:extLst>
              </p:cNvPr>
              <p:cNvGrpSpPr/>
              <p:nvPr/>
            </p:nvGrpSpPr>
            <p:grpSpPr>
              <a:xfrm>
                <a:off x="5035195" y="7206046"/>
                <a:ext cx="97419" cy="104758"/>
                <a:chOff x="5041922" y="7209065"/>
                <a:chExt cx="97419" cy="104758"/>
              </a:xfrm>
            </p:grpSpPr>
            <p:sp>
              <p:nvSpPr>
                <p:cNvPr id="104" name="타원 103">
                  <a:extLst>
                    <a:ext uri="{FF2B5EF4-FFF2-40B4-BE49-F238E27FC236}">
                      <a16:creationId xmlns:a16="http://schemas.microsoft.com/office/drawing/2014/main" id="{820ACB71-36B5-C53D-191F-ADA1B1CB2173}"/>
                    </a:ext>
                  </a:extLst>
                </p:cNvPr>
                <p:cNvSpPr/>
                <p:nvPr/>
              </p:nvSpPr>
              <p:spPr>
                <a:xfrm>
                  <a:off x="5058571" y="7209065"/>
                  <a:ext cx="80770" cy="807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7983D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grpSp>
              <p:nvGrpSpPr>
                <p:cNvPr id="105" name="그룹 104">
                  <a:extLst>
                    <a:ext uri="{FF2B5EF4-FFF2-40B4-BE49-F238E27FC236}">
                      <a16:creationId xmlns:a16="http://schemas.microsoft.com/office/drawing/2014/main" id="{5FC8E7B9-792D-9BE0-4D94-50A4057297D3}"/>
                    </a:ext>
                  </a:extLst>
                </p:cNvPr>
                <p:cNvGrpSpPr/>
                <p:nvPr/>
              </p:nvGrpSpPr>
              <p:grpSpPr>
                <a:xfrm>
                  <a:off x="5041922" y="7280733"/>
                  <a:ext cx="25169" cy="28552"/>
                  <a:chOff x="6005517" y="7469542"/>
                  <a:chExt cx="25169" cy="28552"/>
                </a:xfrm>
              </p:grpSpPr>
              <p:cxnSp>
                <p:nvCxnSpPr>
                  <p:cNvPr id="109" name="직선 연결선 108">
                    <a:extLst>
                      <a:ext uri="{FF2B5EF4-FFF2-40B4-BE49-F238E27FC236}">
                        <a16:creationId xmlns:a16="http://schemas.microsoft.com/office/drawing/2014/main" id="{7A8299EA-C480-4762-2D95-1F1871E763A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6005517" y="7470019"/>
                    <a:ext cx="25169" cy="28075"/>
                  </a:xfrm>
                  <a:prstGeom prst="line">
                    <a:avLst/>
                  </a:prstGeom>
                  <a:ln>
                    <a:solidFill>
                      <a:srgbClr val="7983D7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0" name="직선 연결선 109">
                    <a:extLst>
                      <a:ext uri="{FF2B5EF4-FFF2-40B4-BE49-F238E27FC236}">
                        <a16:creationId xmlns:a16="http://schemas.microsoft.com/office/drawing/2014/main" id="{3C4B97A3-11D9-296A-C2F4-BFDDB9779D2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6005517" y="7469542"/>
                    <a:ext cx="25169" cy="28075"/>
                  </a:xfrm>
                  <a:prstGeom prst="line">
                    <a:avLst/>
                  </a:prstGeom>
                  <a:ln>
                    <a:solidFill>
                      <a:srgbClr val="7983D7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06" name="그룹 105">
                  <a:extLst>
                    <a:ext uri="{FF2B5EF4-FFF2-40B4-BE49-F238E27FC236}">
                      <a16:creationId xmlns:a16="http://schemas.microsoft.com/office/drawing/2014/main" id="{B88EAB85-1AAB-F23A-DE27-1094E51EF7BE}"/>
                    </a:ext>
                  </a:extLst>
                </p:cNvPr>
                <p:cNvGrpSpPr/>
                <p:nvPr/>
              </p:nvGrpSpPr>
              <p:grpSpPr>
                <a:xfrm>
                  <a:off x="5045221" y="7285271"/>
                  <a:ext cx="25169" cy="28552"/>
                  <a:chOff x="6005517" y="7469542"/>
                  <a:chExt cx="25169" cy="28552"/>
                </a:xfrm>
              </p:grpSpPr>
              <p:cxnSp>
                <p:nvCxnSpPr>
                  <p:cNvPr id="107" name="직선 연결선 106">
                    <a:extLst>
                      <a:ext uri="{FF2B5EF4-FFF2-40B4-BE49-F238E27FC236}">
                        <a16:creationId xmlns:a16="http://schemas.microsoft.com/office/drawing/2014/main" id="{0BB3CE8D-0BF8-5F2F-39E1-A484D57956C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6005517" y="7470019"/>
                    <a:ext cx="25169" cy="28075"/>
                  </a:xfrm>
                  <a:prstGeom prst="line">
                    <a:avLst/>
                  </a:prstGeom>
                  <a:ln>
                    <a:solidFill>
                      <a:srgbClr val="7983D7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직선 연결선 107">
                    <a:extLst>
                      <a:ext uri="{FF2B5EF4-FFF2-40B4-BE49-F238E27FC236}">
                        <a16:creationId xmlns:a16="http://schemas.microsoft.com/office/drawing/2014/main" id="{6EC75B4D-B0BC-9D97-63A5-9978B324FDA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6005517" y="7469542"/>
                    <a:ext cx="25169" cy="28075"/>
                  </a:xfrm>
                  <a:prstGeom prst="line">
                    <a:avLst/>
                  </a:prstGeom>
                  <a:ln>
                    <a:solidFill>
                      <a:srgbClr val="7983D7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sp>
          <p:nvSpPr>
            <p:cNvPr id="92" name="직사각형 91">
              <a:extLst>
                <a:ext uri="{FF2B5EF4-FFF2-40B4-BE49-F238E27FC236}">
                  <a16:creationId xmlns:a16="http://schemas.microsoft.com/office/drawing/2014/main" id="{6D530A16-61D8-ABD5-87DE-34C7354DCCAB}"/>
                </a:ext>
              </a:extLst>
            </p:cNvPr>
            <p:cNvSpPr/>
            <p:nvPr/>
          </p:nvSpPr>
          <p:spPr>
            <a:xfrm rot="16200000">
              <a:off x="8556761" y="2333904"/>
              <a:ext cx="121871" cy="12801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A096F1D6-D3A4-ED10-166E-07512D89484D}"/>
                </a:ext>
              </a:extLst>
            </p:cNvPr>
            <p:cNvSpPr/>
            <p:nvPr/>
          </p:nvSpPr>
          <p:spPr>
            <a:xfrm rot="16200000">
              <a:off x="8577590" y="2276821"/>
              <a:ext cx="58720" cy="104987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94" name="직선 연결선 118">
              <a:extLst>
                <a:ext uri="{FF2B5EF4-FFF2-40B4-BE49-F238E27FC236}">
                  <a16:creationId xmlns:a16="http://schemas.microsoft.com/office/drawing/2014/main" id="{2BEF59F3-5268-0D3B-3C87-3E177C077C44}"/>
                </a:ext>
              </a:extLst>
            </p:cNvPr>
            <p:cNvCxnSpPr>
              <a:cxnSpLocks/>
              <a:stCxn id="134" idx="0"/>
              <a:endCxn id="136" idx="0"/>
            </p:cNvCxnSpPr>
            <p:nvPr/>
          </p:nvCxnSpPr>
          <p:spPr>
            <a:xfrm flipH="1">
              <a:off x="10123866" y="1839174"/>
              <a:ext cx="1297" cy="2409288"/>
            </a:xfrm>
            <a:prstGeom prst="straightConnector1">
              <a:avLst/>
            </a:prstGeom>
            <a:ln w="57150">
              <a:solidFill>
                <a:srgbClr val="7983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타원 94">
              <a:extLst>
                <a:ext uri="{FF2B5EF4-FFF2-40B4-BE49-F238E27FC236}">
                  <a16:creationId xmlns:a16="http://schemas.microsoft.com/office/drawing/2014/main" id="{371F870E-5B92-C264-D0E1-C213D3CAE27A}"/>
                </a:ext>
              </a:extLst>
            </p:cNvPr>
            <p:cNvSpPr/>
            <p:nvPr/>
          </p:nvSpPr>
          <p:spPr>
            <a:xfrm flipH="1" flipV="1">
              <a:off x="10062298" y="4234686"/>
              <a:ext cx="109838" cy="10983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7983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96" name="Picture 147">
              <a:extLst>
                <a:ext uri="{FF2B5EF4-FFF2-40B4-BE49-F238E27FC236}">
                  <a16:creationId xmlns:a16="http://schemas.microsoft.com/office/drawing/2014/main" id="{EC75DB11-97A4-A540-92F2-81D86455B3E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6990" y="594656"/>
              <a:ext cx="3931651" cy="59486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88305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2769FF-DB25-43E1-AD03-62486412D8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2769FF-DB25-43E1-AD03-62486412D8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3">
            <a:extLst>
              <a:ext uri="{FF2B5EF4-FFF2-40B4-BE49-F238E27FC236}">
                <a16:creationId xmlns:a16="http://schemas.microsoft.com/office/drawing/2014/main" id="{999AC18C-E849-4954-B5A6-7A53854424B1}"/>
              </a:ext>
            </a:extLst>
          </p:cNvPr>
          <p:cNvSpPr txBox="1">
            <a:spLocks/>
          </p:cNvSpPr>
          <p:nvPr/>
        </p:nvSpPr>
        <p:spPr>
          <a:xfrm>
            <a:off x="639051" y="665393"/>
            <a:ext cx="10913897" cy="8186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o-KR" altLang="en-US" sz="4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목차</a:t>
            </a:r>
            <a:endParaRPr lang="en-US" sz="4800" b="1" dirty="0">
              <a:solidFill>
                <a:schemeClr val="tx1">
                  <a:lumMod val="75000"/>
                  <a:lumOff val="2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  <a:cs typeface="Segoe UI" panose="020B0502040204020203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7EECC47-586A-4BFF-8568-7A51D43D7E71}"/>
              </a:ext>
            </a:extLst>
          </p:cNvPr>
          <p:cNvGrpSpPr/>
          <p:nvPr/>
        </p:nvGrpSpPr>
        <p:grpSpPr>
          <a:xfrm>
            <a:off x="692712" y="492597"/>
            <a:ext cx="622326" cy="131948"/>
            <a:chOff x="692712" y="619597"/>
            <a:chExt cx="622326" cy="131948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C123DBD-3D8E-4BD4-864F-2FA787809606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1A090ABC-C086-48B0-A80F-8F4BFF424442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3EFF71-531B-4023-9ABF-AD6DF138DAB9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EF3324FE-93BC-4F90-A49A-60FD7DAE4487}"/>
              </a:ext>
            </a:extLst>
          </p:cNvPr>
          <p:cNvSpPr/>
          <p:nvPr/>
        </p:nvSpPr>
        <p:spPr>
          <a:xfrm>
            <a:off x="441421" y="5114446"/>
            <a:ext cx="11373852" cy="498885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프로젝트 기대효과</a:t>
            </a:r>
            <a:endParaRPr lang="en-US" sz="24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HY견고딕" panose="02030600000101010101" pitchFamily="18" charset="-127"/>
              <a:ea typeface="HY견고딕" panose="02030600000101010101" pitchFamily="18" charset="-127"/>
              <a:cs typeface="Segoe UI" panose="020B0502040204020203" pitchFamily="34" charset="0"/>
            </a:endParaRPr>
          </a:p>
        </p:txBody>
      </p:sp>
      <p:sp>
        <p:nvSpPr>
          <p:cNvPr id="2" name="Rectangle: Rounded Corners 67">
            <a:extLst>
              <a:ext uri="{FF2B5EF4-FFF2-40B4-BE49-F238E27FC236}">
                <a16:creationId xmlns:a16="http://schemas.microsoft.com/office/drawing/2014/main" id="{CC05D5E8-919B-930D-443A-174C3945B588}"/>
              </a:ext>
            </a:extLst>
          </p:cNvPr>
          <p:cNvSpPr/>
          <p:nvPr/>
        </p:nvSpPr>
        <p:spPr>
          <a:xfrm>
            <a:off x="441421" y="1524880"/>
            <a:ext cx="11373852" cy="498885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사용한 </a:t>
            </a:r>
            <a:r>
              <a:rPr lang="ko-KR" altLang="en-US" sz="2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협업툴</a:t>
            </a:r>
            <a:r>
              <a:rPr lang="ko-KR" altLang="en-US" sz="2400" b="1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의</a:t>
            </a:r>
            <a:r>
              <a:rPr lang="ko-KR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 </a:t>
            </a:r>
            <a:r>
              <a:rPr lang="ko-KR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선정이유와 활용방식</a:t>
            </a:r>
            <a:endParaRPr lang="en-US" sz="24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HY견고딕" panose="02030600000101010101" pitchFamily="18" charset="-127"/>
              <a:ea typeface="HY견고딕" panose="02030600000101010101" pitchFamily="18" charset="-127"/>
              <a:cs typeface="Segoe UI" panose="020B0502040204020203" pitchFamily="34" charset="0"/>
            </a:endParaRPr>
          </a:p>
        </p:txBody>
      </p:sp>
      <p:sp>
        <p:nvSpPr>
          <p:cNvPr id="3" name="Rectangle: Rounded Corners 67">
            <a:extLst>
              <a:ext uri="{FF2B5EF4-FFF2-40B4-BE49-F238E27FC236}">
                <a16:creationId xmlns:a16="http://schemas.microsoft.com/office/drawing/2014/main" id="{73D9AA26-FE05-DED4-DF97-3835153DD4C3}"/>
              </a:ext>
            </a:extLst>
          </p:cNvPr>
          <p:cNvSpPr/>
          <p:nvPr/>
        </p:nvSpPr>
        <p:spPr>
          <a:xfrm>
            <a:off x="441421" y="2349679"/>
            <a:ext cx="11373852" cy="498885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생각하게 된 계기</a:t>
            </a:r>
            <a:endParaRPr lang="en-US" sz="24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HY견고딕" panose="02030600000101010101" pitchFamily="18" charset="-127"/>
              <a:ea typeface="HY견고딕" panose="02030600000101010101" pitchFamily="18" charset="-127"/>
              <a:cs typeface="Segoe UI" panose="020B0502040204020203" pitchFamily="34" charset="0"/>
            </a:endParaRPr>
          </a:p>
        </p:txBody>
      </p:sp>
      <p:sp>
        <p:nvSpPr>
          <p:cNvPr id="5" name="Rectangle: Rounded Corners 67">
            <a:extLst>
              <a:ext uri="{FF2B5EF4-FFF2-40B4-BE49-F238E27FC236}">
                <a16:creationId xmlns:a16="http://schemas.microsoft.com/office/drawing/2014/main" id="{633561A6-733F-F358-38FC-BC21ED6E371C}"/>
              </a:ext>
            </a:extLst>
          </p:cNvPr>
          <p:cNvSpPr/>
          <p:nvPr/>
        </p:nvSpPr>
        <p:spPr>
          <a:xfrm>
            <a:off x="441421" y="4192857"/>
            <a:ext cx="11373852" cy="498885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기존 애플리케이션과의 차별성</a:t>
            </a:r>
            <a:endParaRPr lang="en-US" sz="24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HY견고딕" panose="02030600000101010101" pitchFamily="18" charset="-127"/>
              <a:ea typeface="HY견고딕" panose="02030600000101010101" pitchFamily="18" charset="-127"/>
              <a:cs typeface="Segoe UI" panose="020B0502040204020203" pitchFamily="34" charset="0"/>
            </a:endParaRPr>
          </a:p>
        </p:txBody>
      </p:sp>
      <p:sp>
        <p:nvSpPr>
          <p:cNvPr id="8" name="Rectangle: Rounded Corners 67">
            <a:extLst>
              <a:ext uri="{FF2B5EF4-FFF2-40B4-BE49-F238E27FC236}">
                <a16:creationId xmlns:a16="http://schemas.microsoft.com/office/drawing/2014/main" id="{127FCC06-3E2F-0C77-41AD-2ED87A94A192}"/>
              </a:ext>
            </a:extLst>
          </p:cNvPr>
          <p:cNvSpPr/>
          <p:nvPr/>
        </p:nvSpPr>
        <p:spPr>
          <a:xfrm>
            <a:off x="441421" y="3271268"/>
            <a:ext cx="11373852" cy="498885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NO TROUBLE</a:t>
            </a:r>
            <a:r>
              <a:rPr lang="ko-KR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의 기능</a:t>
            </a:r>
            <a:endParaRPr lang="en-US" sz="24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HY견고딕" panose="02030600000101010101" pitchFamily="18" charset="-127"/>
              <a:ea typeface="HY견고딕" panose="02030600000101010101" pitchFamily="18" charset="-127"/>
              <a:cs typeface="Segoe UI" panose="020B0502040204020203" pitchFamily="34" charset="0"/>
            </a:endParaRPr>
          </a:p>
        </p:txBody>
      </p:sp>
      <p:sp>
        <p:nvSpPr>
          <p:cNvPr id="6" name="Rectangle: Rounded Corners 67">
            <a:extLst>
              <a:ext uri="{FF2B5EF4-FFF2-40B4-BE49-F238E27FC236}">
                <a16:creationId xmlns:a16="http://schemas.microsoft.com/office/drawing/2014/main" id="{693911A1-E4D6-9694-9ADE-32C1C23ADFE0}"/>
              </a:ext>
            </a:extLst>
          </p:cNvPr>
          <p:cNvSpPr/>
          <p:nvPr/>
        </p:nvSpPr>
        <p:spPr>
          <a:xfrm>
            <a:off x="441421" y="5984253"/>
            <a:ext cx="11373852" cy="498885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질의응답</a:t>
            </a:r>
            <a:endParaRPr lang="en-US" sz="24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HY견고딕" panose="02030600000101010101" pitchFamily="18" charset="-127"/>
              <a:ea typeface="HY견고딕" panose="02030600000101010101" pitchFamily="18" charset="-127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0104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" name="그림 112" descr="잔디, 식물이(가) 표시된 사진&#10;&#10;자동 생성된 설명">
            <a:extLst>
              <a:ext uri="{FF2B5EF4-FFF2-40B4-BE49-F238E27FC236}">
                <a16:creationId xmlns:a16="http://schemas.microsoft.com/office/drawing/2014/main" id="{76CA2504-5875-C9AD-C829-A9C742D20B9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62" y="1807393"/>
            <a:ext cx="12209362" cy="5050607"/>
          </a:xfrm>
          <a:prstGeom prst="rect">
            <a:avLst/>
          </a:prstGeom>
        </p:spPr>
      </p:pic>
      <p:graphicFrame>
        <p:nvGraphicFramePr>
          <p:cNvPr id="43" name="Object 42" hidden="1">
            <a:extLst>
              <a:ext uri="{FF2B5EF4-FFF2-40B4-BE49-F238E27FC236}">
                <a16:creationId xmlns:a16="http://schemas.microsoft.com/office/drawing/2014/main" id="{673742A1-D3A8-43E8-A7EB-5B7C23F31C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5576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3" name="Object 42" hidden="1">
                        <a:extLst>
                          <a:ext uri="{FF2B5EF4-FFF2-40B4-BE49-F238E27FC236}">
                            <a16:creationId xmlns:a16="http://schemas.microsoft.com/office/drawing/2014/main" id="{673742A1-D3A8-43E8-A7EB-5B7C23F31C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>
            <a:extLst>
              <a:ext uri="{FF2B5EF4-FFF2-40B4-BE49-F238E27FC236}">
                <a16:creationId xmlns:a16="http://schemas.microsoft.com/office/drawing/2014/main" id="{35600A8B-E54A-40E4-972A-FD1809FFD7CC}"/>
              </a:ext>
            </a:extLst>
          </p:cNvPr>
          <p:cNvSpPr/>
          <p:nvPr/>
        </p:nvSpPr>
        <p:spPr>
          <a:xfrm>
            <a:off x="-17362" y="1812878"/>
            <a:ext cx="12209362" cy="5050607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Title 3">
            <a:extLst>
              <a:ext uri="{FF2B5EF4-FFF2-40B4-BE49-F238E27FC236}">
                <a16:creationId xmlns:a16="http://schemas.microsoft.com/office/drawing/2014/main" id="{E35E3447-3405-4A20-B746-A78148BAC46E}"/>
              </a:ext>
            </a:extLst>
          </p:cNvPr>
          <p:cNvSpPr txBox="1">
            <a:spLocks/>
          </p:cNvSpPr>
          <p:nvPr/>
        </p:nvSpPr>
        <p:spPr>
          <a:xfrm>
            <a:off x="5655817" y="804847"/>
            <a:ext cx="6638425" cy="8186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사용한 </a:t>
            </a:r>
            <a:r>
              <a:rPr lang="ko-KR" altLang="en-US" sz="28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협업툴</a:t>
            </a:r>
            <a:r>
              <a:rPr lang="ko-KR" altLang="en-US" sz="2800" b="1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의</a:t>
            </a:r>
            <a:r>
              <a: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 </a:t>
            </a:r>
            <a:r>
              <a: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선정이유와 활용방식</a:t>
            </a:r>
            <a:endParaRPr lang="en-US" altLang="ko-KR" sz="28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HY견고딕" panose="02030600000101010101" pitchFamily="18" charset="-127"/>
              <a:ea typeface="HY견고딕" panose="02030600000101010101" pitchFamily="18" charset="-127"/>
              <a:cs typeface="Segoe UI" panose="020B0502040204020203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32C891A-CFA8-42B2-961B-052F28BD29F7}"/>
              </a:ext>
            </a:extLst>
          </p:cNvPr>
          <p:cNvSpPr/>
          <p:nvPr/>
        </p:nvSpPr>
        <p:spPr>
          <a:xfrm>
            <a:off x="7918532" y="2135041"/>
            <a:ext cx="3886202" cy="91984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spcBef>
                <a:spcPts val="600"/>
              </a:spcBef>
              <a:buClr>
                <a:srgbClr val="7983D7"/>
              </a:buClr>
            </a:pPr>
            <a:r>
              <a:rPr lang="ko-KR" altLang="en-US" sz="2400" b="0" i="0" dirty="0">
                <a:solidFill>
                  <a:schemeClr val="bg1"/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역할 분담</a:t>
            </a:r>
            <a:endParaRPr lang="en-US" sz="2400" b="0" i="0" dirty="0">
              <a:solidFill>
                <a:schemeClr val="bg1"/>
              </a:solidFill>
              <a:effectLst/>
              <a:latin typeface="HY견고딕" panose="02030600000101010101" pitchFamily="18" charset="-127"/>
              <a:ea typeface="HY견고딕" panose="02030600000101010101" pitchFamily="18" charset="-127"/>
              <a:cs typeface="Segoe UI" panose="020B0502040204020203" pitchFamily="34" charset="0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24526B0-6FD2-4C9B-BA8A-DD089B9BDA4F}"/>
              </a:ext>
            </a:extLst>
          </p:cNvPr>
          <p:cNvSpPr/>
          <p:nvPr/>
        </p:nvSpPr>
        <p:spPr>
          <a:xfrm>
            <a:off x="7918532" y="3639750"/>
            <a:ext cx="3886201" cy="91984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spcBef>
                <a:spcPts val="600"/>
              </a:spcBef>
              <a:buClr>
                <a:srgbClr val="7983D7"/>
              </a:buClr>
            </a:pPr>
            <a:r>
              <a:rPr lang="ko-KR" altLang="en-US" sz="2400" b="0" i="0" dirty="0">
                <a:solidFill>
                  <a:schemeClr val="bg1"/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일정 계획</a:t>
            </a:r>
            <a:endParaRPr lang="en-US" sz="2400" b="0" i="0" dirty="0">
              <a:solidFill>
                <a:schemeClr val="bg1"/>
              </a:solidFill>
              <a:effectLst/>
              <a:latin typeface="HY견고딕" panose="02030600000101010101" pitchFamily="18" charset="-127"/>
              <a:ea typeface="HY견고딕" panose="02030600000101010101" pitchFamily="18" charset="-127"/>
              <a:cs typeface="Segoe UI" panose="020B0502040204020203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062144A0-6F65-4890-8C74-7A23E564C610}"/>
              </a:ext>
            </a:extLst>
          </p:cNvPr>
          <p:cNvSpPr/>
          <p:nvPr/>
        </p:nvSpPr>
        <p:spPr>
          <a:xfrm>
            <a:off x="7918532" y="5144459"/>
            <a:ext cx="3903080" cy="91984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spcBef>
                <a:spcPts val="600"/>
              </a:spcBef>
              <a:buClr>
                <a:srgbClr val="7983D7"/>
              </a:buClr>
            </a:pPr>
            <a:r>
              <a:rPr lang="ko-KR" altLang="en-US" sz="2400" b="0" i="0" dirty="0">
                <a:solidFill>
                  <a:schemeClr val="bg1"/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아이디어</a:t>
            </a:r>
            <a:r>
              <a:rPr lang="en-US" altLang="ko-KR" sz="2400" b="0" i="0" dirty="0">
                <a:solidFill>
                  <a:schemeClr val="bg1"/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, </a:t>
            </a:r>
            <a:r>
              <a:rPr lang="ko-KR" altLang="en-US" sz="2400" b="0" i="0" dirty="0">
                <a:solidFill>
                  <a:schemeClr val="bg1"/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조사 자료 공유</a:t>
            </a:r>
            <a:endParaRPr lang="en-US" altLang="ko-KR" sz="2400" b="0" i="0" dirty="0">
              <a:solidFill>
                <a:schemeClr val="bg1"/>
              </a:solidFill>
              <a:effectLst/>
              <a:latin typeface="HY견고딕" panose="02030600000101010101" pitchFamily="18" charset="-127"/>
              <a:ea typeface="HY견고딕" panose="02030600000101010101" pitchFamily="18" charset="-127"/>
              <a:cs typeface="Segoe UI" panose="020B0502040204020203" pitchFamily="34" charset="0"/>
            </a:endParaRP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46F56831-E36A-4C7C-8403-88D6302A1B62}"/>
              </a:ext>
            </a:extLst>
          </p:cNvPr>
          <p:cNvCxnSpPr>
            <a:cxnSpLocks/>
          </p:cNvCxnSpPr>
          <p:nvPr/>
        </p:nvCxnSpPr>
        <p:spPr>
          <a:xfrm>
            <a:off x="7810500" y="3347317"/>
            <a:ext cx="390308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B3F45C35-50EC-471B-9C68-95696274AA1B}"/>
              </a:ext>
            </a:extLst>
          </p:cNvPr>
          <p:cNvCxnSpPr>
            <a:cxnSpLocks/>
          </p:cNvCxnSpPr>
          <p:nvPr/>
        </p:nvCxnSpPr>
        <p:spPr>
          <a:xfrm>
            <a:off x="7810500" y="4852025"/>
            <a:ext cx="390308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8" name="그룹 137">
            <a:extLst>
              <a:ext uri="{FF2B5EF4-FFF2-40B4-BE49-F238E27FC236}">
                <a16:creationId xmlns:a16="http://schemas.microsoft.com/office/drawing/2014/main" id="{6DB12863-AE0D-D9C5-7A0A-42EF6C590904}"/>
              </a:ext>
            </a:extLst>
          </p:cNvPr>
          <p:cNvGrpSpPr/>
          <p:nvPr/>
        </p:nvGrpSpPr>
        <p:grpSpPr>
          <a:xfrm>
            <a:off x="6947519" y="3780437"/>
            <a:ext cx="638468" cy="638468"/>
            <a:chOff x="6129533" y="3780437"/>
            <a:chExt cx="638468" cy="638468"/>
          </a:xfrm>
        </p:grpSpPr>
        <p:grpSp>
          <p:nvGrpSpPr>
            <p:cNvPr id="132" name="그룹 131">
              <a:extLst>
                <a:ext uri="{FF2B5EF4-FFF2-40B4-BE49-F238E27FC236}">
                  <a16:creationId xmlns:a16="http://schemas.microsoft.com/office/drawing/2014/main" id="{FB4483AA-BD8E-99CD-38BE-F607052283E0}"/>
                </a:ext>
              </a:extLst>
            </p:cNvPr>
            <p:cNvGrpSpPr/>
            <p:nvPr/>
          </p:nvGrpSpPr>
          <p:grpSpPr>
            <a:xfrm>
              <a:off x="6129533" y="3780437"/>
              <a:ext cx="638468" cy="638468"/>
              <a:chOff x="6129533" y="3780437"/>
              <a:chExt cx="638468" cy="638468"/>
            </a:xfrm>
          </p:grpSpPr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7C0CC306-E74A-4DBD-AF3E-266B07BB5E12}"/>
                  </a:ext>
                </a:extLst>
              </p:cNvPr>
              <p:cNvSpPr/>
              <p:nvPr/>
            </p:nvSpPr>
            <p:spPr>
              <a:xfrm>
                <a:off x="6129533" y="3780437"/>
                <a:ext cx="638468" cy="638468"/>
              </a:xfrm>
              <a:prstGeom prst="rect">
                <a:avLst/>
              </a:prstGeom>
              <a:gradFill>
                <a:gsLst>
                  <a:gs pos="0">
                    <a:srgbClr val="7983D7"/>
                  </a:gs>
                  <a:gs pos="94000">
                    <a:srgbClr val="4757B8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Isosceles Triangle 83">
                <a:extLst>
                  <a:ext uri="{FF2B5EF4-FFF2-40B4-BE49-F238E27FC236}">
                    <a16:creationId xmlns:a16="http://schemas.microsoft.com/office/drawing/2014/main" id="{D32B0B7E-BCD7-4428-8165-5C0AC0B58749}"/>
                  </a:ext>
                </a:extLst>
              </p:cNvPr>
              <p:cNvSpPr/>
              <p:nvPr/>
            </p:nvSpPr>
            <p:spPr>
              <a:xfrm>
                <a:off x="6139351" y="3780437"/>
                <a:ext cx="628648" cy="638468"/>
              </a:xfrm>
              <a:prstGeom prst="triangle">
                <a:avLst>
                  <a:gd name="adj" fmla="val 100000"/>
                </a:avLst>
              </a:pr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93" name="Freeform 69">
              <a:extLst>
                <a:ext uri="{FF2B5EF4-FFF2-40B4-BE49-F238E27FC236}">
                  <a16:creationId xmlns:a16="http://schemas.microsoft.com/office/drawing/2014/main" id="{047BDA17-965D-41F8-8DCD-290EC2E035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9201" y="3929366"/>
              <a:ext cx="339132" cy="340611"/>
            </a:xfrm>
            <a:custGeom>
              <a:avLst/>
              <a:gdLst>
                <a:gd name="T0" fmla="*/ 83 w 97"/>
                <a:gd name="T1" fmla="*/ 41 h 97"/>
                <a:gd name="T2" fmla="*/ 79 w 97"/>
                <a:gd name="T3" fmla="*/ 31 h 97"/>
                <a:gd name="T4" fmla="*/ 94 w 97"/>
                <a:gd name="T5" fmla="*/ 2 h 97"/>
                <a:gd name="T6" fmla="*/ 71 w 97"/>
                <a:gd name="T7" fmla="*/ 21 h 97"/>
                <a:gd name="T8" fmla="*/ 56 w 97"/>
                <a:gd name="T9" fmla="*/ 14 h 97"/>
                <a:gd name="T10" fmla="*/ 54 w 97"/>
                <a:gd name="T11" fmla="*/ 1 h 97"/>
                <a:gd name="T12" fmla="*/ 40 w 97"/>
                <a:gd name="T13" fmla="*/ 3 h 97"/>
                <a:gd name="T14" fmla="*/ 31 w 97"/>
                <a:gd name="T15" fmla="*/ 18 h 97"/>
                <a:gd name="T16" fmla="*/ 20 w 97"/>
                <a:gd name="T17" fmla="*/ 9 h 97"/>
                <a:gd name="T18" fmla="*/ 8 w 97"/>
                <a:gd name="T19" fmla="*/ 22 h 97"/>
                <a:gd name="T20" fmla="*/ 17 w 97"/>
                <a:gd name="T21" fmla="*/ 32 h 97"/>
                <a:gd name="T22" fmla="*/ 2 w 97"/>
                <a:gd name="T23" fmla="*/ 41 h 97"/>
                <a:gd name="T24" fmla="*/ 0 w 97"/>
                <a:gd name="T25" fmla="*/ 55 h 97"/>
                <a:gd name="T26" fmla="*/ 13 w 97"/>
                <a:gd name="T27" fmla="*/ 57 h 97"/>
                <a:gd name="T28" fmla="*/ 8 w 97"/>
                <a:gd name="T29" fmla="*/ 74 h 97"/>
                <a:gd name="T30" fmla="*/ 8 w 97"/>
                <a:gd name="T31" fmla="*/ 77 h 97"/>
                <a:gd name="T32" fmla="*/ 23 w 97"/>
                <a:gd name="T33" fmla="*/ 89 h 97"/>
                <a:gd name="T34" fmla="*/ 40 w 97"/>
                <a:gd name="T35" fmla="*/ 84 h 97"/>
                <a:gd name="T36" fmla="*/ 42 w 97"/>
                <a:gd name="T37" fmla="*/ 97 h 97"/>
                <a:gd name="T38" fmla="*/ 56 w 97"/>
                <a:gd name="T39" fmla="*/ 95 h 97"/>
                <a:gd name="T40" fmla="*/ 65 w 97"/>
                <a:gd name="T41" fmla="*/ 80 h 97"/>
                <a:gd name="T42" fmla="*/ 76 w 97"/>
                <a:gd name="T43" fmla="*/ 89 h 97"/>
                <a:gd name="T44" fmla="*/ 88 w 97"/>
                <a:gd name="T45" fmla="*/ 74 h 97"/>
                <a:gd name="T46" fmla="*/ 83 w 97"/>
                <a:gd name="T47" fmla="*/ 57 h 97"/>
                <a:gd name="T48" fmla="*/ 96 w 97"/>
                <a:gd name="T49" fmla="*/ 55 h 97"/>
                <a:gd name="T50" fmla="*/ 94 w 97"/>
                <a:gd name="T51" fmla="*/ 41 h 97"/>
                <a:gd name="T52" fmla="*/ 49 w 97"/>
                <a:gd name="T53" fmla="*/ 60 h 97"/>
                <a:gd name="T54" fmla="*/ 48 w 97"/>
                <a:gd name="T55" fmla="*/ 60 h 97"/>
                <a:gd name="T56" fmla="*/ 30 w 97"/>
                <a:gd name="T57" fmla="*/ 39 h 97"/>
                <a:gd name="T58" fmla="*/ 49 w 97"/>
                <a:gd name="T59" fmla="*/ 56 h 97"/>
                <a:gd name="T60" fmla="*/ 91 w 97"/>
                <a:gd name="T61" fmla="*/ 5 h 97"/>
                <a:gd name="T62" fmla="*/ 51 w 97"/>
                <a:gd name="T63" fmla="*/ 6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7" h="97">
                  <a:moveTo>
                    <a:pt x="94" y="41"/>
                  </a:moveTo>
                  <a:cubicBezTo>
                    <a:pt x="83" y="41"/>
                    <a:pt x="83" y="41"/>
                    <a:pt x="83" y="41"/>
                  </a:cubicBezTo>
                  <a:cubicBezTo>
                    <a:pt x="82" y="39"/>
                    <a:pt x="82" y="37"/>
                    <a:pt x="81" y="35"/>
                  </a:cubicBezTo>
                  <a:cubicBezTo>
                    <a:pt x="80" y="34"/>
                    <a:pt x="79" y="32"/>
                    <a:pt x="79" y="31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7" y="8"/>
                    <a:pt x="96" y="4"/>
                    <a:pt x="94" y="2"/>
                  </a:cubicBezTo>
                  <a:cubicBezTo>
                    <a:pt x="91" y="0"/>
                    <a:pt x="87" y="1"/>
                    <a:pt x="85" y="3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0" y="20"/>
                    <a:pt x="68" y="19"/>
                    <a:pt x="67" y="18"/>
                  </a:cubicBezTo>
                  <a:cubicBezTo>
                    <a:pt x="64" y="17"/>
                    <a:pt x="60" y="15"/>
                    <a:pt x="56" y="14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6" y="2"/>
                    <a:pt x="55" y="1"/>
                    <a:pt x="54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0" y="2"/>
                    <a:pt x="40" y="3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37" y="15"/>
                    <a:pt x="33" y="16"/>
                    <a:pt x="31" y="18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2" y="9"/>
                    <a:pt x="20" y="9"/>
                    <a:pt x="20" y="9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2"/>
                    <a:pt x="8" y="22"/>
                  </a:cubicBezTo>
                  <a:cubicBezTo>
                    <a:pt x="8" y="23"/>
                    <a:pt x="8" y="23"/>
                    <a:pt x="8" y="24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5" y="34"/>
                    <a:pt x="14" y="38"/>
                    <a:pt x="13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" y="41"/>
                    <a:pt x="0" y="42"/>
                    <a:pt x="0" y="43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6"/>
                    <a:pt x="1" y="57"/>
                    <a:pt x="2" y="57"/>
                  </a:cubicBezTo>
                  <a:cubicBezTo>
                    <a:pt x="13" y="57"/>
                    <a:pt x="13" y="57"/>
                    <a:pt x="13" y="57"/>
                  </a:cubicBezTo>
                  <a:cubicBezTo>
                    <a:pt x="14" y="60"/>
                    <a:pt x="15" y="64"/>
                    <a:pt x="17" y="66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5"/>
                    <a:pt x="8" y="75"/>
                    <a:pt x="8" y="76"/>
                  </a:cubicBezTo>
                  <a:cubicBezTo>
                    <a:pt x="8" y="76"/>
                    <a:pt x="8" y="77"/>
                    <a:pt x="8" y="77"/>
                  </a:cubicBezTo>
                  <a:cubicBezTo>
                    <a:pt x="20" y="89"/>
                    <a:pt x="20" y="89"/>
                    <a:pt x="20" y="89"/>
                  </a:cubicBezTo>
                  <a:cubicBezTo>
                    <a:pt x="20" y="89"/>
                    <a:pt x="22" y="89"/>
                    <a:pt x="23" y="89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33" y="82"/>
                    <a:pt x="37" y="83"/>
                    <a:pt x="40" y="84"/>
                  </a:cubicBezTo>
                  <a:cubicBezTo>
                    <a:pt x="40" y="95"/>
                    <a:pt x="40" y="95"/>
                    <a:pt x="40" y="95"/>
                  </a:cubicBezTo>
                  <a:cubicBezTo>
                    <a:pt x="40" y="96"/>
                    <a:pt x="41" y="97"/>
                    <a:pt x="42" y="97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5" y="97"/>
                    <a:pt x="56" y="96"/>
                    <a:pt x="56" y="95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9" y="83"/>
                    <a:pt x="63" y="82"/>
                    <a:pt x="65" y="80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74" y="89"/>
                    <a:pt x="76" y="89"/>
                    <a:pt x="76" y="89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8" y="77"/>
                    <a:pt x="88" y="75"/>
                    <a:pt x="88" y="74"/>
                  </a:cubicBezTo>
                  <a:cubicBezTo>
                    <a:pt x="79" y="66"/>
                    <a:pt x="79" y="66"/>
                    <a:pt x="79" y="66"/>
                  </a:cubicBezTo>
                  <a:cubicBezTo>
                    <a:pt x="81" y="64"/>
                    <a:pt x="82" y="60"/>
                    <a:pt x="83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6" y="56"/>
                    <a:pt x="96" y="55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96" y="42"/>
                    <a:pt x="95" y="41"/>
                    <a:pt x="94" y="41"/>
                  </a:cubicBezTo>
                  <a:close/>
                  <a:moveTo>
                    <a:pt x="51" y="60"/>
                  </a:moveTo>
                  <a:cubicBezTo>
                    <a:pt x="50" y="60"/>
                    <a:pt x="50" y="60"/>
                    <a:pt x="49" y="6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1"/>
                    <a:pt x="48" y="60"/>
                    <a:pt x="48" y="60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29" y="41"/>
                    <a:pt x="29" y="40"/>
                    <a:pt x="30" y="39"/>
                  </a:cubicBezTo>
                  <a:cubicBezTo>
                    <a:pt x="31" y="38"/>
                    <a:pt x="32" y="38"/>
                    <a:pt x="33" y="39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88" y="6"/>
                    <a:pt x="88" y="6"/>
                    <a:pt x="88" y="6"/>
                  </a:cubicBezTo>
                  <a:cubicBezTo>
                    <a:pt x="89" y="5"/>
                    <a:pt x="90" y="5"/>
                    <a:pt x="91" y="5"/>
                  </a:cubicBezTo>
                  <a:cubicBezTo>
                    <a:pt x="92" y="6"/>
                    <a:pt x="92" y="7"/>
                    <a:pt x="92" y="8"/>
                  </a:cubicBezTo>
                  <a:lnTo>
                    <a:pt x="51" y="6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33" name="그룹 132">
            <a:extLst>
              <a:ext uri="{FF2B5EF4-FFF2-40B4-BE49-F238E27FC236}">
                <a16:creationId xmlns:a16="http://schemas.microsoft.com/office/drawing/2014/main" id="{4718B3D8-92B2-5FF7-0334-0B91C9E004E0}"/>
              </a:ext>
            </a:extLst>
          </p:cNvPr>
          <p:cNvGrpSpPr/>
          <p:nvPr/>
        </p:nvGrpSpPr>
        <p:grpSpPr>
          <a:xfrm>
            <a:off x="6948466" y="2275728"/>
            <a:ext cx="638468" cy="638468"/>
            <a:chOff x="6129533" y="2275728"/>
            <a:chExt cx="638468" cy="638468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89499E08-F4BB-4E6E-9BB7-A9996EFB5033}"/>
                </a:ext>
              </a:extLst>
            </p:cNvPr>
            <p:cNvSpPr/>
            <p:nvPr/>
          </p:nvSpPr>
          <p:spPr>
            <a:xfrm>
              <a:off x="6129533" y="2275728"/>
              <a:ext cx="638468" cy="638468"/>
            </a:xfrm>
            <a:prstGeom prst="rect">
              <a:avLst/>
            </a:prstGeom>
            <a:gradFill>
              <a:gsLst>
                <a:gs pos="0">
                  <a:srgbClr val="7983D7"/>
                </a:gs>
                <a:gs pos="94000">
                  <a:srgbClr val="4757B8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Isosceles Triangle 79">
              <a:extLst>
                <a:ext uri="{FF2B5EF4-FFF2-40B4-BE49-F238E27FC236}">
                  <a16:creationId xmlns:a16="http://schemas.microsoft.com/office/drawing/2014/main" id="{AD380FFB-4093-4054-B42B-46E79F169FB0}"/>
                </a:ext>
              </a:extLst>
            </p:cNvPr>
            <p:cNvSpPr/>
            <p:nvPr/>
          </p:nvSpPr>
          <p:spPr>
            <a:xfrm>
              <a:off x="6139351" y="2275728"/>
              <a:ext cx="628648" cy="638468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1" name="그룹 130">
            <a:extLst>
              <a:ext uri="{FF2B5EF4-FFF2-40B4-BE49-F238E27FC236}">
                <a16:creationId xmlns:a16="http://schemas.microsoft.com/office/drawing/2014/main" id="{07C8081F-B415-0833-852A-44A526CB3E7C}"/>
              </a:ext>
            </a:extLst>
          </p:cNvPr>
          <p:cNvGrpSpPr/>
          <p:nvPr/>
        </p:nvGrpSpPr>
        <p:grpSpPr>
          <a:xfrm>
            <a:off x="6945903" y="5285146"/>
            <a:ext cx="638468" cy="638468"/>
            <a:chOff x="6129533" y="5285146"/>
            <a:chExt cx="638468" cy="638468"/>
          </a:xfrm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533E6970-77A8-4BBB-8927-90865048EF41}"/>
                </a:ext>
              </a:extLst>
            </p:cNvPr>
            <p:cNvSpPr/>
            <p:nvPr/>
          </p:nvSpPr>
          <p:spPr>
            <a:xfrm>
              <a:off x="6129533" y="5285146"/>
              <a:ext cx="638468" cy="638468"/>
            </a:xfrm>
            <a:prstGeom prst="rect">
              <a:avLst/>
            </a:prstGeom>
            <a:gradFill>
              <a:gsLst>
                <a:gs pos="0">
                  <a:srgbClr val="7983D7"/>
                </a:gs>
                <a:gs pos="94000">
                  <a:srgbClr val="4757B8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Isosceles Triangle 87">
              <a:extLst>
                <a:ext uri="{FF2B5EF4-FFF2-40B4-BE49-F238E27FC236}">
                  <a16:creationId xmlns:a16="http://schemas.microsoft.com/office/drawing/2014/main" id="{D26EDDA2-3843-40A4-9F08-DC6316BBA1F9}"/>
                </a:ext>
              </a:extLst>
            </p:cNvPr>
            <p:cNvSpPr/>
            <p:nvPr/>
          </p:nvSpPr>
          <p:spPr>
            <a:xfrm>
              <a:off x="6139351" y="5285146"/>
              <a:ext cx="628648" cy="638468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4" name="그룹 113">
            <a:extLst>
              <a:ext uri="{FF2B5EF4-FFF2-40B4-BE49-F238E27FC236}">
                <a16:creationId xmlns:a16="http://schemas.microsoft.com/office/drawing/2014/main" id="{EE1416A0-5F19-C7A7-9A54-2142FC38B4FC}"/>
              </a:ext>
            </a:extLst>
          </p:cNvPr>
          <p:cNvGrpSpPr/>
          <p:nvPr/>
        </p:nvGrpSpPr>
        <p:grpSpPr>
          <a:xfrm>
            <a:off x="79325" y="700617"/>
            <a:ext cx="4549711" cy="6079985"/>
            <a:chOff x="937332" y="1043282"/>
            <a:chExt cx="3685225" cy="545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338FFEC-1539-48D8-BF09-1490F14F35F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 flipV="1">
              <a:off x="53107" y="1927507"/>
              <a:ext cx="5453676" cy="3685225"/>
            </a:xfrm>
            <a:prstGeom prst="rect">
              <a:avLst/>
            </a:prstGeom>
          </p:spPr>
        </p:pic>
        <p:pic>
          <p:nvPicPr>
            <p:cNvPr id="76" name="그림 75">
              <a:extLst>
                <a:ext uri="{FF2B5EF4-FFF2-40B4-BE49-F238E27FC236}">
                  <a16:creationId xmlns:a16="http://schemas.microsoft.com/office/drawing/2014/main" id="{30FC1922-C15F-933C-3606-B53E9686EC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156"/>
            <a:stretch/>
          </p:blipFill>
          <p:spPr>
            <a:xfrm>
              <a:off x="1121959" y="1524001"/>
              <a:ext cx="3303863" cy="1143463"/>
            </a:xfrm>
            <a:prstGeom prst="rect">
              <a:avLst/>
            </a:prstGeom>
          </p:spPr>
        </p:pic>
        <p:pic>
          <p:nvPicPr>
            <p:cNvPr id="90" name="그림 89">
              <a:extLst>
                <a:ext uri="{FF2B5EF4-FFF2-40B4-BE49-F238E27FC236}">
                  <a16:creationId xmlns:a16="http://schemas.microsoft.com/office/drawing/2014/main" id="{8D6D2FB0-603C-CD4B-D7BA-84F22B687DC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1954" y="2639375"/>
              <a:ext cx="3303863" cy="1207656"/>
            </a:xfrm>
            <a:prstGeom prst="rect">
              <a:avLst/>
            </a:prstGeom>
          </p:spPr>
        </p:pic>
        <p:pic>
          <p:nvPicPr>
            <p:cNvPr id="104" name="그림 103">
              <a:extLst>
                <a:ext uri="{FF2B5EF4-FFF2-40B4-BE49-F238E27FC236}">
                  <a16:creationId xmlns:a16="http://schemas.microsoft.com/office/drawing/2014/main" id="{160FDF0C-44CA-931D-4E61-FC5FDAB305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296"/>
            <a:stretch/>
          </p:blipFill>
          <p:spPr>
            <a:xfrm>
              <a:off x="1113630" y="3847031"/>
              <a:ext cx="3312187" cy="2275080"/>
            </a:xfrm>
            <a:prstGeom prst="rect">
              <a:avLst/>
            </a:prstGeom>
          </p:spPr>
        </p:pic>
      </p:grpSp>
      <p:grpSp>
        <p:nvGrpSpPr>
          <p:cNvPr id="119" name="그룹 118">
            <a:extLst>
              <a:ext uri="{FF2B5EF4-FFF2-40B4-BE49-F238E27FC236}">
                <a16:creationId xmlns:a16="http://schemas.microsoft.com/office/drawing/2014/main" id="{4FB06972-99F9-0490-C2B9-C4161BAF66B1}"/>
              </a:ext>
            </a:extLst>
          </p:cNvPr>
          <p:cNvGrpSpPr/>
          <p:nvPr/>
        </p:nvGrpSpPr>
        <p:grpSpPr>
          <a:xfrm>
            <a:off x="5061332" y="459169"/>
            <a:ext cx="698591" cy="1069233"/>
            <a:chOff x="5069755" y="492597"/>
            <a:chExt cx="698591" cy="1069233"/>
          </a:xfrm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FB333EF2-2848-4010-82D2-129434C6C85B}"/>
                </a:ext>
              </a:extLst>
            </p:cNvPr>
            <p:cNvGrpSpPr/>
            <p:nvPr/>
          </p:nvGrpSpPr>
          <p:grpSpPr>
            <a:xfrm>
              <a:off x="5107888" y="492597"/>
              <a:ext cx="622326" cy="131948"/>
              <a:chOff x="692712" y="619597"/>
              <a:chExt cx="622326" cy="131948"/>
            </a:xfrm>
          </p:grpSpPr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DBE3DBC2-AF6F-4429-82B5-80EDB7399924}"/>
                  </a:ext>
                </a:extLst>
              </p:cNvPr>
              <p:cNvSpPr/>
              <p:nvPr/>
            </p:nvSpPr>
            <p:spPr>
              <a:xfrm>
                <a:off x="692712" y="619597"/>
                <a:ext cx="131948" cy="131948"/>
              </a:xfrm>
              <a:prstGeom prst="ellipse">
                <a:avLst/>
              </a:prstGeom>
              <a:solidFill>
                <a:srgbClr val="7983D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BB17CEAA-8523-4F72-9FB9-DC5479FF1CB0}"/>
                  </a:ext>
                </a:extLst>
              </p:cNvPr>
              <p:cNvSpPr/>
              <p:nvPr/>
            </p:nvSpPr>
            <p:spPr>
              <a:xfrm>
                <a:off x="937901" y="619597"/>
                <a:ext cx="131948" cy="131948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CC5D2470-5805-4A40-B48A-D9AFA9DF5B8A}"/>
                  </a:ext>
                </a:extLst>
              </p:cNvPr>
              <p:cNvSpPr/>
              <p:nvPr/>
            </p:nvSpPr>
            <p:spPr>
              <a:xfrm>
                <a:off x="1183090" y="619597"/>
                <a:ext cx="131948" cy="131948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118" name="그림 117">
              <a:extLst>
                <a:ext uri="{FF2B5EF4-FFF2-40B4-BE49-F238E27FC236}">
                  <a16:creationId xmlns:a16="http://schemas.microsoft.com/office/drawing/2014/main" id="{F5929569-48CC-4575-76E9-68B2A84E69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69755" y="721192"/>
              <a:ext cx="698591" cy="840638"/>
            </a:xfrm>
            <a:prstGeom prst="rect">
              <a:avLst/>
            </a:prstGeom>
          </p:spPr>
        </p:pic>
      </p:grpSp>
      <p:grpSp>
        <p:nvGrpSpPr>
          <p:cNvPr id="128" name="그룹 127">
            <a:extLst>
              <a:ext uri="{FF2B5EF4-FFF2-40B4-BE49-F238E27FC236}">
                <a16:creationId xmlns:a16="http://schemas.microsoft.com/office/drawing/2014/main" id="{B7024CAB-D42F-92FB-9DE7-70D6185CE2EA}"/>
              </a:ext>
            </a:extLst>
          </p:cNvPr>
          <p:cNvGrpSpPr/>
          <p:nvPr/>
        </p:nvGrpSpPr>
        <p:grpSpPr>
          <a:xfrm>
            <a:off x="1854955" y="2383140"/>
            <a:ext cx="3555673" cy="4536498"/>
            <a:chOff x="2052689" y="2823195"/>
            <a:chExt cx="3399188" cy="4375819"/>
          </a:xfrm>
        </p:grpSpPr>
        <p:grpSp>
          <p:nvGrpSpPr>
            <p:cNvPr id="125" name="그룹 124">
              <a:extLst>
                <a:ext uri="{FF2B5EF4-FFF2-40B4-BE49-F238E27FC236}">
                  <a16:creationId xmlns:a16="http://schemas.microsoft.com/office/drawing/2014/main" id="{9F92C6D3-1891-D475-4E7E-F7B499D09CAB}"/>
                </a:ext>
              </a:extLst>
            </p:cNvPr>
            <p:cNvGrpSpPr/>
            <p:nvPr/>
          </p:nvGrpSpPr>
          <p:grpSpPr>
            <a:xfrm>
              <a:off x="2052689" y="2823195"/>
              <a:ext cx="3399188" cy="4375819"/>
              <a:chOff x="-686965" y="2811607"/>
              <a:chExt cx="3264432" cy="4373246"/>
            </a:xfrm>
          </p:grpSpPr>
          <p:pic>
            <p:nvPicPr>
              <p:cNvPr id="124" name="그림 123">
                <a:extLst>
                  <a:ext uri="{FF2B5EF4-FFF2-40B4-BE49-F238E27FC236}">
                    <a16:creationId xmlns:a16="http://schemas.microsoft.com/office/drawing/2014/main" id="{8724F2EB-E432-B20A-65CE-3336E2E056A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1098" y="2914196"/>
                <a:ext cx="2112698" cy="4003866"/>
              </a:xfrm>
              <a:prstGeom prst="rect">
                <a:avLst/>
              </a:prstGeom>
            </p:spPr>
          </p:pic>
          <p:pic>
            <p:nvPicPr>
              <p:cNvPr id="122" name="Picture 50">
                <a:extLst>
                  <a:ext uri="{FF2B5EF4-FFF2-40B4-BE49-F238E27FC236}">
                    <a16:creationId xmlns:a16="http://schemas.microsoft.com/office/drawing/2014/main" id="{5C618D19-0584-50CD-A4A4-CA611926B7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686965" y="2811607"/>
                <a:ext cx="3264432" cy="4373246"/>
              </a:xfrm>
              <a:prstGeom prst="rect">
                <a:avLst/>
              </a:prstGeom>
            </p:spPr>
          </p:pic>
        </p:grpSp>
        <p:pic>
          <p:nvPicPr>
            <p:cNvPr id="127" name="그림 126">
              <a:extLst>
                <a:ext uri="{FF2B5EF4-FFF2-40B4-BE49-F238E27FC236}">
                  <a16:creationId xmlns:a16="http://schemas.microsoft.com/office/drawing/2014/main" id="{3B7E1226-2898-3DA9-2F76-0C9BFAFAE1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47854" y="3639750"/>
              <a:ext cx="432572" cy="432572"/>
            </a:xfrm>
            <a:prstGeom prst="rect">
              <a:avLst/>
            </a:prstGeom>
          </p:spPr>
        </p:pic>
      </p:grpSp>
      <p:grpSp>
        <p:nvGrpSpPr>
          <p:cNvPr id="109" name="그룹 108">
            <a:extLst>
              <a:ext uri="{FF2B5EF4-FFF2-40B4-BE49-F238E27FC236}">
                <a16:creationId xmlns:a16="http://schemas.microsoft.com/office/drawing/2014/main" id="{B65781B3-8840-73D7-041F-0120474B85B6}"/>
              </a:ext>
            </a:extLst>
          </p:cNvPr>
          <p:cNvGrpSpPr/>
          <p:nvPr/>
        </p:nvGrpSpPr>
        <p:grpSpPr>
          <a:xfrm>
            <a:off x="3404227" y="1955789"/>
            <a:ext cx="3826569" cy="4987180"/>
            <a:chOff x="-1116054" y="2496807"/>
            <a:chExt cx="3188376" cy="4429899"/>
          </a:xfrm>
        </p:grpSpPr>
        <p:pic>
          <p:nvPicPr>
            <p:cNvPr id="108" name="그림 107">
              <a:extLst>
                <a:ext uri="{FF2B5EF4-FFF2-40B4-BE49-F238E27FC236}">
                  <a16:creationId xmlns:a16="http://schemas.microsoft.com/office/drawing/2014/main" id="{CF2199E2-9220-B00E-62C2-E72653EB45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1137"/>
            <a:stretch/>
          </p:blipFill>
          <p:spPr>
            <a:xfrm>
              <a:off x="-610616" y="2594963"/>
              <a:ext cx="2129802" cy="4072143"/>
            </a:xfrm>
            <a:prstGeom prst="rect">
              <a:avLst/>
            </a:prstGeom>
          </p:spPr>
        </p:pic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54AB1347-FBA8-4E73-91C1-CEE5801603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116054" y="2496807"/>
              <a:ext cx="3188376" cy="4429899"/>
            </a:xfrm>
            <a:prstGeom prst="rect">
              <a:avLst/>
            </a:prstGeom>
          </p:spPr>
        </p:pic>
      </p:grpSp>
      <p:sp>
        <p:nvSpPr>
          <p:cNvPr id="142" name="Freeform 228">
            <a:extLst>
              <a:ext uri="{FF2B5EF4-FFF2-40B4-BE49-F238E27FC236}">
                <a16:creationId xmlns:a16="http://schemas.microsoft.com/office/drawing/2014/main" id="{1DC5DD59-6115-7A4B-14F1-6B24881AB4A0}"/>
              </a:ext>
            </a:extLst>
          </p:cNvPr>
          <p:cNvSpPr>
            <a:spLocks/>
          </p:cNvSpPr>
          <p:nvPr/>
        </p:nvSpPr>
        <p:spPr bwMode="auto">
          <a:xfrm>
            <a:off x="7132694" y="2437869"/>
            <a:ext cx="277933" cy="314187"/>
          </a:xfrm>
          <a:custGeom>
            <a:avLst/>
            <a:gdLst>
              <a:gd name="T0" fmla="*/ 39 w 39"/>
              <a:gd name="T1" fmla="*/ 41 h 44"/>
              <a:gd name="T2" fmla="*/ 27 w 39"/>
              <a:gd name="T3" fmla="*/ 24 h 44"/>
              <a:gd name="T4" fmla="*/ 32 w 39"/>
              <a:gd name="T5" fmla="*/ 13 h 44"/>
              <a:gd name="T6" fmla="*/ 19 w 39"/>
              <a:gd name="T7" fmla="*/ 0 h 44"/>
              <a:gd name="T8" fmla="*/ 6 w 39"/>
              <a:gd name="T9" fmla="*/ 13 h 44"/>
              <a:gd name="T10" fmla="*/ 12 w 39"/>
              <a:gd name="T11" fmla="*/ 24 h 44"/>
              <a:gd name="T12" fmla="*/ 0 w 39"/>
              <a:gd name="T13" fmla="*/ 42 h 44"/>
              <a:gd name="T14" fmla="*/ 2 w 39"/>
              <a:gd name="T15" fmla="*/ 44 h 44"/>
              <a:gd name="T16" fmla="*/ 37 w 39"/>
              <a:gd name="T17" fmla="*/ 44 h 44"/>
              <a:gd name="T18" fmla="*/ 37 w 39"/>
              <a:gd name="T19" fmla="*/ 44 h 44"/>
              <a:gd name="T20" fmla="*/ 39 w 39"/>
              <a:gd name="T21" fmla="*/ 42 h 44"/>
              <a:gd name="T22" fmla="*/ 39 w 39"/>
              <a:gd name="T23" fmla="*/ 41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9" h="44">
                <a:moveTo>
                  <a:pt x="39" y="41"/>
                </a:moveTo>
                <a:cubicBezTo>
                  <a:pt x="39" y="34"/>
                  <a:pt x="34" y="27"/>
                  <a:pt x="27" y="24"/>
                </a:cubicBezTo>
                <a:cubicBezTo>
                  <a:pt x="30" y="22"/>
                  <a:pt x="32" y="18"/>
                  <a:pt x="32" y="13"/>
                </a:cubicBezTo>
                <a:cubicBezTo>
                  <a:pt x="32" y="6"/>
                  <a:pt x="27" y="0"/>
                  <a:pt x="19" y="0"/>
                </a:cubicBezTo>
                <a:cubicBezTo>
                  <a:pt x="12" y="0"/>
                  <a:pt x="6" y="6"/>
                  <a:pt x="6" y="13"/>
                </a:cubicBezTo>
                <a:cubicBezTo>
                  <a:pt x="6" y="18"/>
                  <a:pt x="8" y="22"/>
                  <a:pt x="12" y="24"/>
                </a:cubicBezTo>
                <a:cubicBezTo>
                  <a:pt x="5" y="27"/>
                  <a:pt x="0" y="34"/>
                  <a:pt x="0" y="42"/>
                </a:cubicBezTo>
                <a:cubicBezTo>
                  <a:pt x="0" y="43"/>
                  <a:pt x="1" y="44"/>
                  <a:pt x="2" y="44"/>
                </a:cubicBezTo>
                <a:cubicBezTo>
                  <a:pt x="37" y="44"/>
                  <a:pt x="37" y="44"/>
                  <a:pt x="37" y="44"/>
                </a:cubicBezTo>
                <a:cubicBezTo>
                  <a:pt x="37" y="44"/>
                  <a:pt x="37" y="44"/>
                  <a:pt x="37" y="44"/>
                </a:cubicBezTo>
                <a:cubicBezTo>
                  <a:pt x="38" y="44"/>
                  <a:pt x="39" y="43"/>
                  <a:pt x="39" y="42"/>
                </a:cubicBezTo>
                <a:cubicBezTo>
                  <a:pt x="39" y="42"/>
                  <a:pt x="39" y="42"/>
                  <a:pt x="39" y="4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dirty="0"/>
          </a:p>
        </p:txBody>
      </p:sp>
      <p:pic>
        <p:nvPicPr>
          <p:cNvPr id="143" name="그림 142">
            <a:extLst>
              <a:ext uri="{FF2B5EF4-FFF2-40B4-BE49-F238E27FC236}">
                <a16:creationId xmlns:a16="http://schemas.microsoft.com/office/drawing/2014/main" id="{4705DC46-7FE1-738F-C0EA-B9A417481AE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2549" y="5408037"/>
            <a:ext cx="392686" cy="392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1288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3" name="그림 172">
            <a:extLst>
              <a:ext uri="{FF2B5EF4-FFF2-40B4-BE49-F238E27FC236}">
                <a16:creationId xmlns:a16="http://schemas.microsoft.com/office/drawing/2014/main" id="{19BFBC1F-4C29-1055-64A8-C792003A341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0296"/>
            <a:ext cx="12192000" cy="1946255"/>
          </a:xfrm>
          <a:prstGeom prst="rect">
            <a:avLst/>
          </a:prstGeom>
        </p:spPr>
      </p:pic>
      <p:graphicFrame>
        <p:nvGraphicFramePr>
          <p:cNvPr id="58" name="Object 57" hidden="1">
            <a:extLst>
              <a:ext uri="{FF2B5EF4-FFF2-40B4-BE49-F238E27FC236}">
                <a16:creationId xmlns:a16="http://schemas.microsoft.com/office/drawing/2014/main" id="{F835E444-F82B-4DE3-B53E-5D51EFC0CF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466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8" name="Object 57" hidden="1">
                        <a:extLst>
                          <a:ext uri="{FF2B5EF4-FFF2-40B4-BE49-F238E27FC236}">
                            <a16:creationId xmlns:a16="http://schemas.microsoft.com/office/drawing/2014/main" id="{F835E444-F82B-4DE3-B53E-5D51EFC0CF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>
            <a:extLst>
              <a:ext uri="{FF2B5EF4-FFF2-40B4-BE49-F238E27FC236}">
                <a16:creationId xmlns:a16="http://schemas.microsoft.com/office/drawing/2014/main" id="{A0A02496-88EA-4B41-9E5D-338FC62291EF}"/>
              </a:ext>
            </a:extLst>
          </p:cNvPr>
          <p:cNvSpPr/>
          <p:nvPr/>
        </p:nvSpPr>
        <p:spPr>
          <a:xfrm>
            <a:off x="0" y="-22225"/>
            <a:ext cx="12192000" cy="1978298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Title 3">
            <a:extLst>
              <a:ext uri="{FF2B5EF4-FFF2-40B4-BE49-F238E27FC236}">
                <a16:creationId xmlns:a16="http://schemas.microsoft.com/office/drawing/2014/main" id="{EB2D913B-6EEF-4B66-9A3E-17021769FBAE}"/>
              </a:ext>
            </a:extLst>
          </p:cNvPr>
          <p:cNvSpPr txBox="1">
            <a:spLocks/>
          </p:cNvSpPr>
          <p:nvPr/>
        </p:nvSpPr>
        <p:spPr>
          <a:xfrm>
            <a:off x="8384469" y="700343"/>
            <a:ext cx="3853691" cy="12256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o-KR" altLang="en-US" sz="36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생각하게 된 계기</a:t>
            </a:r>
            <a:endParaRPr lang="en-US" sz="3600" dirty="0">
              <a:solidFill>
                <a:schemeClr val="bg1"/>
              </a:solidFill>
              <a:latin typeface="HY견고딕" panose="02030600000101010101" pitchFamily="18" charset="-127"/>
              <a:ea typeface="HY견고딕" panose="02030600000101010101" pitchFamily="18" charset="-127"/>
              <a:cs typeface="Segoe UI" panose="020B0502040204020203" pitchFamily="34" charset="0"/>
            </a:endParaRP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EA1F572A-A1EF-4760-99BD-3D49E59CD96D}"/>
              </a:ext>
            </a:extLst>
          </p:cNvPr>
          <p:cNvGrpSpPr/>
          <p:nvPr/>
        </p:nvGrpSpPr>
        <p:grpSpPr>
          <a:xfrm>
            <a:off x="11240690" y="403581"/>
            <a:ext cx="622326" cy="131948"/>
            <a:chOff x="692712" y="619597"/>
            <a:chExt cx="622326" cy="131948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A44C18AD-EF52-43D8-9871-5CDB9086FE54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53B856FE-FA6E-4CB3-9AF3-43B83EC4F156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C95FF305-0D1A-4F40-881D-24987820C343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7" name="그룹 176">
            <a:extLst>
              <a:ext uri="{FF2B5EF4-FFF2-40B4-BE49-F238E27FC236}">
                <a16:creationId xmlns:a16="http://schemas.microsoft.com/office/drawing/2014/main" id="{9661CD0C-6229-70A1-5D12-623A070C4F91}"/>
              </a:ext>
            </a:extLst>
          </p:cNvPr>
          <p:cNvGrpSpPr/>
          <p:nvPr/>
        </p:nvGrpSpPr>
        <p:grpSpPr>
          <a:xfrm>
            <a:off x="7662488" y="2676712"/>
            <a:ext cx="3710151" cy="1347256"/>
            <a:chOff x="7424341" y="2995045"/>
            <a:chExt cx="4156076" cy="1268786"/>
          </a:xfrm>
        </p:grpSpPr>
        <p:sp>
          <p:nvSpPr>
            <p:cNvPr id="178" name="Freeform 192">
              <a:extLst>
                <a:ext uri="{FF2B5EF4-FFF2-40B4-BE49-F238E27FC236}">
                  <a16:creationId xmlns:a16="http://schemas.microsoft.com/office/drawing/2014/main" id="{678C1B95-569B-1A47-E0B4-7184EA94BA87}"/>
                </a:ext>
              </a:extLst>
            </p:cNvPr>
            <p:cNvSpPr/>
            <p:nvPr/>
          </p:nvSpPr>
          <p:spPr>
            <a:xfrm flipH="1">
              <a:off x="7424341" y="2995045"/>
              <a:ext cx="4156075" cy="1268786"/>
            </a:xfrm>
            <a:custGeom>
              <a:avLst/>
              <a:gdLst>
                <a:gd name="connsiteX0" fmla="*/ 0 w 4156075"/>
                <a:gd name="connsiteY0" fmla="*/ 0 h 1268786"/>
                <a:gd name="connsiteX1" fmla="*/ 4156075 w 4156075"/>
                <a:gd name="connsiteY1" fmla="*/ 0 h 1268786"/>
                <a:gd name="connsiteX2" fmla="*/ 4156075 w 4156075"/>
                <a:gd name="connsiteY2" fmla="*/ 830636 h 1268786"/>
                <a:gd name="connsiteX3" fmla="*/ 4156075 w 4156075"/>
                <a:gd name="connsiteY3" fmla="*/ 975034 h 1268786"/>
                <a:gd name="connsiteX4" fmla="*/ 4156075 w 4156075"/>
                <a:gd name="connsiteY4" fmla="*/ 1268786 h 1268786"/>
                <a:gd name="connsiteX5" fmla="*/ 3862323 w 4156075"/>
                <a:gd name="connsiteY5" fmla="*/ 975034 h 1268786"/>
                <a:gd name="connsiteX6" fmla="*/ 0 w 4156075"/>
                <a:gd name="connsiteY6" fmla="*/ 975034 h 1268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56075" h="1268786">
                  <a:moveTo>
                    <a:pt x="0" y="0"/>
                  </a:moveTo>
                  <a:lnTo>
                    <a:pt x="4156075" y="0"/>
                  </a:lnTo>
                  <a:lnTo>
                    <a:pt x="4156075" y="830636"/>
                  </a:lnTo>
                  <a:lnTo>
                    <a:pt x="4156075" y="975034"/>
                  </a:lnTo>
                  <a:lnTo>
                    <a:pt x="4156075" y="1268786"/>
                  </a:lnTo>
                  <a:lnTo>
                    <a:pt x="3862323" y="975034"/>
                  </a:lnTo>
                  <a:lnTo>
                    <a:pt x="0" y="9750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9" name="Rectangle 193">
              <a:extLst>
                <a:ext uri="{FF2B5EF4-FFF2-40B4-BE49-F238E27FC236}">
                  <a16:creationId xmlns:a16="http://schemas.microsoft.com/office/drawing/2014/main" id="{2AAE4FC1-E2B8-F020-9109-B49BE4EC0EEB}"/>
                </a:ext>
              </a:extLst>
            </p:cNvPr>
            <p:cNvSpPr/>
            <p:nvPr/>
          </p:nvSpPr>
          <p:spPr>
            <a:xfrm>
              <a:off x="11534698" y="2995045"/>
              <a:ext cx="45719" cy="975034"/>
            </a:xfrm>
            <a:prstGeom prst="rect">
              <a:avLst/>
            </a:prstGeom>
            <a:solidFill>
              <a:srgbClr val="FFAF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0" name="TextBox 179">
              <a:extLst>
                <a:ext uri="{FF2B5EF4-FFF2-40B4-BE49-F238E27FC236}">
                  <a16:creationId xmlns:a16="http://schemas.microsoft.com/office/drawing/2014/main" id="{D2E33C7E-BBAD-FBBA-A0F5-E3AE71091A23}"/>
                </a:ext>
              </a:extLst>
            </p:cNvPr>
            <p:cNvSpPr txBox="1"/>
            <p:nvPr/>
          </p:nvSpPr>
          <p:spPr>
            <a:xfrm>
              <a:off x="7627211" y="3221696"/>
              <a:ext cx="3787781" cy="52173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ko-KR" altLang="en-US" dirty="0">
                  <a:latin typeface="HY견고딕" panose="02030600000101010101" pitchFamily="18" charset="-127"/>
                  <a:ea typeface="HY견고딕" panose="02030600000101010101" pitchFamily="18" charset="-127"/>
                </a:rPr>
                <a:t>이동할 때 시간낭비를 줄이려면 어떻게 하는 것이 좋을까</a:t>
              </a:r>
              <a:endParaRPr lang="en-US" dirty="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grpSp>
        <p:nvGrpSpPr>
          <p:cNvPr id="191" name="그룹 190">
            <a:extLst>
              <a:ext uri="{FF2B5EF4-FFF2-40B4-BE49-F238E27FC236}">
                <a16:creationId xmlns:a16="http://schemas.microsoft.com/office/drawing/2014/main" id="{1D207085-830A-EFC1-94EF-3E5175AC3DBF}"/>
              </a:ext>
            </a:extLst>
          </p:cNvPr>
          <p:cNvGrpSpPr/>
          <p:nvPr/>
        </p:nvGrpSpPr>
        <p:grpSpPr>
          <a:xfrm>
            <a:off x="708413" y="1508258"/>
            <a:ext cx="4156075" cy="1526752"/>
            <a:chOff x="221357" y="2088285"/>
            <a:chExt cx="4156075" cy="1526752"/>
          </a:xfrm>
        </p:grpSpPr>
        <p:sp>
          <p:nvSpPr>
            <p:cNvPr id="183" name="Freeform 157">
              <a:extLst>
                <a:ext uri="{FF2B5EF4-FFF2-40B4-BE49-F238E27FC236}">
                  <a16:creationId xmlns:a16="http://schemas.microsoft.com/office/drawing/2014/main" id="{6DD7CC6B-D4F0-2E31-7941-0D83156B6B13}"/>
                </a:ext>
              </a:extLst>
            </p:cNvPr>
            <p:cNvSpPr/>
            <p:nvPr/>
          </p:nvSpPr>
          <p:spPr>
            <a:xfrm>
              <a:off x="221357" y="2088286"/>
              <a:ext cx="4156075" cy="1526751"/>
            </a:xfrm>
            <a:custGeom>
              <a:avLst/>
              <a:gdLst>
                <a:gd name="connsiteX0" fmla="*/ 0 w 4156075"/>
                <a:gd name="connsiteY0" fmla="*/ 0 h 1268786"/>
                <a:gd name="connsiteX1" fmla="*/ 4156075 w 4156075"/>
                <a:gd name="connsiteY1" fmla="*/ 0 h 1268786"/>
                <a:gd name="connsiteX2" fmla="*/ 4156075 w 4156075"/>
                <a:gd name="connsiteY2" fmla="*/ 830636 h 1268786"/>
                <a:gd name="connsiteX3" fmla="*/ 4156075 w 4156075"/>
                <a:gd name="connsiteY3" fmla="*/ 975034 h 1268786"/>
                <a:gd name="connsiteX4" fmla="*/ 4156075 w 4156075"/>
                <a:gd name="connsiteY4" fmla="*/ 1268786 h 1268786"/>
                <a:gd name="connsiteX5" fmla="*/ 3862323 w 4156075"/>
                <a:gd name="connsiteY5" fmla="*/ 975034 h 1268786"/>
                <a:gd name="connsiteX6" fmla="*/ 0 w 4156075"/>
                <a:gd name="connsiteY6" fmla="*/ 975034 h 1268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56075" h="1268786">
                  <a:moveTo>
                    <a:pt x="0" y="0"/>
                  </a:moveTo>
                  <a:lnTo>
                    <a:pt x="4156075" y="0"/>
                  </a:lnTo>
                  <a:lnTo>
                    <a:pt x="4156075" y="830636"/>
                  </a:lnTo>
                  <a:lnTo>
                    <a:pt x="4156075" y="975034"/>
                  </a:lnTo>
                  <a:lnTo>
                    <a:pt x="4156075" y="1268786"/>
                  </a:lnTo>
                  <a:lnTo>
                    <a:pt x="3862323" y="975034"/>
                  </a:lnTo>
                  <a:lnTo>
                    <a:pt x="0" y="9750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6EDE0066-44E9-52DD-C315-05F15A140DED}"/>
                </a:ext>
              </a:extLst>
            </p:cNvPr>
            <p:cNvSpPr txBox="1"/>
            <p:nvPr/>
          </p:nvSpPr>
          <p:spPr>
            <a:xfrm>
              <a:off x="479816" y="2397117"/>
              <a:ext cx="3787781" cy="61555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ko-KR" altLang="en-US" sz="2000" dirty="0">
                  <a:latin typeface="HY견고딕" panose="02030600000101010101" pitchFamily="18" charset="-127"/>
                  <a:ea typeface="HY견고딕" panose="02030600000101010101" pitchFamily="18" charset="-127"/>
                </a:rPr>
                <a:t>제시간 내 목적지에 도착할 수 있을지 불안하다</a:t>
              </a:r>
              <a:endParaRPr lang="en-US" sz="2000" dirty="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  <p:sp>
          <p:nvSpPr>
            <p:cNvPr id="186" name="Rectangle 5">
              <a:extLst>
                <a:ext uri="{FF2B5EF4-FFF2-40B4-BE49-F238E27FC236}">
                  <a16:creationId xmlns:a16="http://schemas.microsoft.com/office/drawing/2014/main" id="{C741A0AD-F3CB-FE0E-D313-EA0991AFA8D7}"/>
                </a:ext>
              </a:extLst>
            </p:cNvPr>
            <p:cNvSpPr/>
            <p:nvPr/>
          </p:nvSpPr>
          <p:spPr>
            <a:xfrm>
              <a:off x="221357" y="2088285"/>
              <a:ext cx="45719" cy="1173274"/>
            </a:xfrm>
            <a:prstGeom prst="rect">
              <a:avLst/>
            </a:prstGeom>
            <a:solidFill>
              <a:srgbClr val="C856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2" name="그룹 191">
            <a:extLst>
              <a:ext uri="{FF2B5EF4-FFF2-40B4-BE49-F238E27FC236}">
                <a16:creationId xmlns:a16="http://schemas.microsoft.com/office/drawing/2014/main" id="{49257CD8-DAEA-45E2-973C-056B07E0EEB6}"/>
              </a:ext>
            </a:extLst>
          </p:cNvPr>
          <p:cNvGrpSpPr/>
          <p:nvPr/>
        </p:nvGrpSpPr>
        <p:grpSpPr>
          <a:xfrm>
            <a:off x="653496" y="3856379"/>
            <a:ext cx="4156075" cy="1526751"/>
            <a:chOff x="221357" y="4318572"/>
            <a:chExt cx="4156075" cy="1526751"/>
          </a:xfrm>
        </p:grpSpPr>
        <p:sp>
          <p:nvSpPr>
            <p:cNvPr id="184" name="Freeform 158">
              <a:extLst>
                <a:ext uri="{FF2B5EF4-FFF2-40B4-BE49-F238E27FC236}">
                  <a16:creationId xmlns:a16="http://schemas.microsoft.com/office/drawing/2014/main" id="{0C855507-D8C1-4981-3341-0379FBE61A28}"/>
                </a:ext>
              </a:extLst>
            </p:cNvPr>
            <p:cNvSpPr/>
            <p:nvPr/>
          </p:nvSpPr>
          <p:spPr>
            <a:xfrm>
              <a:off x="221357" y="4318572"/>
              <a:ext cx="4156075" cy="1526751"/>
            </a:xfrm>
            <a:custGeom>
              <a:avLst/>
              <a:gdLst>
                <a:gd name="connsiteX0" fmla="*/ 0 w 4156075"/>
                <a:gd name="connsiteY0" fmla="*/ 0 h 1268786"/>
                <a:gd name="connsiteX1" fmla="*/ 4156075 w 4156075"/>
                <a:gd name="connsiteY1" fmla="*/ 0 h 1268786"/>
                <a:gd name="connsiteX2" fmla="*/ 4156075 w 4156075"/>
                <a:gd name="connsiteY2" fmla="*/ 830636 h 1268786"/>
                <a:gd name="connsiteX3" fmla="*/ 4156075 w 4156075"/>
                <a:gd name="connsiteY3" fmla="*/ 975034 h 1268786"/>
                <a:gd name="connsiteX4" fmla="*/ 4156075 w 4156075"/>
                <a:gd name="connsiteY4" fmla="*/ 1268786 h 1268786"/>
                <a:gd name="connsiteX5" fmla="*/ 3862323 w 4156075"/>
                <a:gd name="connsiteY5" fmla="*/ 975034 h 1268786"/>
                <a:gd name="connsiteX6" fmla="*/ 0 w 4156075"/>
                <a:gd name="connsiteY6" fmla="*/ 975034 h 1268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56075" h="1268786">
                  <a:moveTo>
                    <a:pt x="0" y="0"/>
                  </a:moveTo>
                  <a:lnTo>
                    <a:pt x="4156075" y="0"/>
                  </a:lnTo>
                  <a:lnTo>
                    <a:pt x="4156075" y="830636"/>
                  </a:lnTo>
                  <a:lnTo>
                    <a:pt x="4156075" y="975034"/>
                  </a:lnTo>
                  <a:lnTo>
                    <a:pt x="4156075" y="1268786"/>
                  </a:lnTo>
                  <a:lnTo>
                    <a:pt x="3862323" y="975034"/>
                  </a:lnTo>
                  <a:lnTo>
                    <a:pt x="0" y="9750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7" name="Rectangle 161">
              <a:extLst>
                <a:ext uri="{FF2B5EF4-FFF2-40B4-BE49-F238E27FC236}">
                  <a16:creationId xmlns:a16="http://schemas.microsoft.com/office/drawing/2014/main" id="{608D74C1-BF5F-0904-70DD-88A75B59B477}"/>
                </a:ext>
              </a:extLst>
            </p:cNvPr>
            <p:cNvSpPr/>
            <p:nvPr/>
          </p:nvSpPr>
          <p:spPr>
            <a:xfrm>
              <a:off x="221357" y="4318572"/>
              <a:ext cx="45719" cy="1173274"/>
            </a:xfrm>
            <a:prstGeom prst="rect">
              <a:avLst/>
            </a:prstGeom>
            <a:solidFill>
              <a:srgbClr val="C856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FE83A607-3E6D-5BB1-2248-14324A00A3B8}"/>
                </a:ext>
              </a:extLst>
            </p:cNvPr>
            <p:cNvSpPr txBox="1"/>
            <p:nvPr/>
          </p:nvSpPr>
          <p:spPr>
            <a:xfrm>
              <a:off x="534733" y="4766709"/>
              <a:ext cx="3787781" cy="307777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ko-KR" altLang="en-US" sz="2000" dirty="0">
                  <a:latin typeface="HY견고딕" panose="02030600000101010101" pitchFamily="18" charset="-127"/>
                  <a:ea typeface="HY견고딕" panose="02030600000101010101" pitchFamily="18" charset="-127"/>
                </a:rPr>
                <a:t>더 편하게 대중교통을 타고 싶다</a:t>
              </a:r>
              <a:endParaRPr lang="en-US" sz="2000" dirty="0">
                <a:latin typeface="HY견고딕" panose="02030600000101010101" pitchFamily="18" charset="-127"/>
                <a:ea typeface="HY견고딕" panose="02030600000101010101" pitchFamily="18" charset="-127"/>
              </a:endParaRPr>
            </a:p>
          </p:txBody>
        </p:sp>
      </p:grpSp>
      <p:pic>
        <p:nvPicPr>
          <p:cNvPr id="194" name="그림 193">
            <a:extLst>
              <a:ext uri="{FF2B5EF4-FFF2-40B4-BE49-F238E27FC236}">
                <a16:creationId xmlns:a16="http://schemas.microsoft.com/office/drawing/2014/main" id="{CF02F181-C7B5-3966-CBBD-C1F4381BC1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5505" y="1728112"/>
            <a:ext cx="4824151" cy="4661647"/>
          </a:xfrm>
          <a:prstGeom prst="rect">
            <a:avLst/>
          </a:prstGeom>
        </p:spPr>
      </p:pic>
      <p:sp>
        <p:nvSpPr>
          <p:cNvPr id="4" name="Freeform 192">
            <a:extLst>
              <a:ext uri="{FF2B5EF4-FFF2-40B4-BE49-F238E27FC236}">
                <a16:creationId xmlns:a16="http://schemas.microsoft.com/office/drawing/2014/main" id="{0551EA58-1CBE-E2E2-E9A3-F5CBD92CAD75}"/>
              </a:ext>
            </a:extLst>
          </p:cNvPr>
          <p:cNvSpPr/>
          <p:nvPr/>
        </p:nvSpPr>
        <p:spPr>
          <a:xfrm flipH="1">
            <a:off x="7662487" y="4722163"/>
            <a:ext cx="3710150" cy="1347256"/>
          </a:xfrm>
          <a:custGeom>
            <a:avLst/>
            <a:gdLst>
              <a:gd name="connsiteX0" fmla="*/ 0 w 4156075"/>
              <a:gd name="connsiteY0" fmla="*/ 0 h 1268786"/>
              <a:gd name="connsiteX1" fmla="*/ 4156075 w 4156075"/>
              <a:gd name="connsiteY1" fmla="*/ 0 h 1268786"/>
              <a:gd name="connsiteX2" fmla="*/ 4156075 w 4156075"/>
              <a:gd name="connsiteY2" fmla="*/ 830636 h 1268786"/>
              <a:gd name="connsiteX3" fmla="*/ 4156075 w 4156075"/>
              <a:gd name="connsiteY3" fmla="*/ 975034 h 1268786"/>
              <a:gd name="connsiteX4" fmla="*/ 4156075 w 4156075"/>
              <a:gd name="connsiteY4" fmla="*/ 1268786 h 1268786"/>
              <a:gd name="connsiteX5" fmla="*/ 3862323 w 4156075"/>
              <a:gd name="connsiteY5" fmla="*/ 975034 h 1268786"/>
              <a:gd name="connsiteX6" fmla="*/ 0 w 4156075"/>
              <a:gd name="connsiteY6" fmla="*/ 975034 h 1268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56075" h="1268786">
                <a:moveTo>
                  <a:pt x="0" y="0"/>
                </a:moveTo>
                <a:lnTo>
                  <a:pt x="4156075" y="0"/>
                </a:lnTo>
                <a:lnTo>
                  <a:pt x="4156075" y="830636"/>
                </a:lnTo>
                <a:lnTo>
                  <a:pt x="4156075" y="975034"/>
                </a:lnTo>
                <a:lnTo>
                  <a:pt x="4156075" y="1268786"/>
                </a:lnTo>
                <a:lnTo>
                  <a:pt x="3862323" y="975034"/>
                </a:lnTo>
                <a:lnTo>
                  <a:pt x="0" y="97503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193">
            <a:extLst>
              <a:ext uri="{FF2B5EF4-FFF2-40B4-BE49-F238E27FC236}">
                <a16:creationId xmlns:a16="http://schemas.microsoft.com/office/drawing/2014/main" id="{811FF7F8-64FD-6B7A-24A8-009B59812410}"/>
              </a:ext>
            </a:extLst>
          </p:cNvPr>
          <p:cNvSpPr/>
          <p:nvPr/>
        </p:nvSpPr>
        <p:spPr>
          <a:xfrm>
            <a:off x="11359564" y="4722163"/>
            <a:ext cx="40814" cy="1035336"/>
          </a:xfrm>
          <a:prstGeom prst="rect">
            <a:avLst/>
          </a:prstGeom>
          <a:solidFill>
            <a:srgbClr val="FFAF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E7E0D7F-8C8B-2B1C-990B-6B88E84DFC00}"/>
              </a:ext>
            </a:extLst>
          </p:cNvPr>
          <p:cNvSpPr txBox="1"/>
          <p:nvPr/>
        </p:nvSpPr>
        <p:spPr>
          <a:xfrm>
            <a:off x="7859318" y="5118792"/>
            <a:ext cx="3381372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ko-KR" altLang="en-US" dirty="0">
                <a:latin typeface="HY견고딕" panose="02030600000101010101" pitchFamily="18" charset="-127"/>
                <a:ea typeface="HY견고딕" panose="02030600000101010101" pitchFamily="18" charset="-127"/>
              </a:rPr>
              <a:t>귀찮음을 제거해보자 </a:t>
            </a:r>
            <a:endParaRPr lang="en-US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272995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6" name="Picture 38" descr="163 Generic City Map Stock Photos, Pictures &amp; Royalty-Free Images - iStock">
            <a:extLst>
              <a:ext uri="{FF2B5EF4-FFF2-40B4-BE49-F238E27FC236}">
                <a16:creationId xmlns:a16="http://schemas.microsoft.com/office/drawing/2014/main" id="{C5217781-D65E-E3FC-B10B-19235B686D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270" r="16058"/>
          <a:stretch/>
        </p:blipFill>
        <p:spPr bwMode="auto">
          <a:xfrm>
            <a:off x="7288342" y="-70759"/>
            <a:ext cx="4893199" cy="691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81" name="Rectangle 51">
            <a:extLst>
              <a:ext uri="{FF2B5EF4-FFF2-40B4-BE49-F238E27FC236}">
                <a16:creationId xmlns:a16="http://schemas.microsoft.com/office/drawing/2014/main" id="{2D5FCC05-5B7E-C620-FDDD-10932EAC2A2A}"/>
              </a:ext>
            </a:extLst>
          </p:cNvPr>
          <p:cNvSpPr/>
          <p:nvPr/>
        </p:nvSpPr>
        <p:spPr>
          <a:xfrm rot="5400000">
            <a:off x="6312154" y="983427"/>
            <a:ext cx="6858000" cy="4901691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69B44F8-00D5-410F-B296-0B9C48F237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7645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69B44F8-00D5-410F-B296-0B9C48F23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3" name="그룹 32">
            <a:extLst>
              <a:ext uri="{FF2B5EF4-FFF2-40B4-BE49-F238E27FC236}">
                <a16:creationId xmlns:a16="http://schemas.microsoft.com/office/drawing/2014/main" id="{03008A69-61B5-06EC-800D-FCFF60DCEE08}"/>
              </a:ext>
            </a:extLst>
          </p:cNvPr>
          <p:cNvGrpSpPr/>
          <p:nvPr/>
        </p:nvGrpSpPr>
        <p:grpSpPr>
          <a:xfrm>
            <a:off x="302974" y="271559"/>
            <a:ext cx="1391902" cy="902415"/>
            <a:chOff x="651363" y="619597"/>
            <a:chExt cx="1391902" cy="902415"/>
          </a:xfrm>
        </p:grpSpPr>
        <p:sp>
          <p:nvSpPr>
            <p:cNvPr id="53" name="Title 3">
              <a:extLst>
                <a:ext uri="{FF2B5EF4-FFF2-40B4-BE49-F238E27FC236}">
                  <a16:creationId xmlns:a16="http://schemas.microsoft.com/office/drawing/2014/main" id="{7A7CC297-B50E-4B18-B4AF-D63A2A224E30}"/>
                </a:ext>
              </a:extLst>
            </p:cNvPr>
            <p:cNvSpPr txBox="1">
              <a:spLocks/>
            </p:cNvSpPr>
            <p:nvPr/>
          </p:nvSpPr>
          <p:spPr>
            <a:xfrm>
              <a:off x="651363" y="861539"/>
              <a:ext cx="1391902" cy="660473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ko-KR" altLang="en-US" sz="3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기능</a:t>
              </a:r>
              <a:endParaRPr lang="da-DK" sz="3600" dirty="0">
                <a:solidFill>
                  <a:schemeClr val="tx1">
                    <a:lumMod val="75000"/>
                    <a:lumOff val="2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endParaRP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05EFF006-F484-4665-9BC7-A2CC3CAE2500}"/>
                </a:ext>
              </a:extLst>
            </p:cNvPr>
            <p:cNvGrpSpPr/>
            <p:nvPr/>
          </p:nvGrpSpPr>
          <p:grpSpPr>
            <a:xfrm>
              <a:off x="692712" y="619597"/>
              <a:ext cx="622326" cy="131948"/>
              <a:chOff x="692712" y="619597"/>
              <a:chExt cx="622326" cy="131948"/>
            </a:xfrm>
          </p:grpSpPr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89A7E0F2-24C5-4D10-B364-CF55BAC338B6}"/>
                  </a:ext>
                </a:extLst>
              </p:cNvPr>
              <p:cNvSpPr/>
              <p:nvPr/>
            </p:nvSpPr>
            <p:spPr>
              <a:xfrm>
                <a:off x="692712" y="619597"/>
                <a:ext cx="131948" cy="131948"/>
              </a:xfrm>
              <a:prstGeom prst="ellipse">
                <a:avLst/>
              </a:prstGeom>
              <a:solidFill>
                <a:srgbClr val="7983D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B32296E6-E8E4-40E3-9923-349912D9A6AA}"/>
                  </a:ext>
                </a:extLst>
              </p:cNvPr>
              <p:cNvSpPr/>
              <p:nvPr/>
            </p:nvSpPr>
            <p:spPr>
              <a:xfrm>
                <a:off x="937901" y="619597"/>
                <a:ext cx="131948" cy="131948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B1C970EC-8A75-432F-8E45-54438BF4BD9E}"/>
                  </a:ext>
                </a:extLst>
              </p:cNvPr>
              <p:cNvSpPr/>
              <p:nvPr/>
            </p:nvSpPr>
            <p:spPr>
              <a:xfrm>
                <a:off x="1183090" y="619597"/>
                <a:ext cx="131948" cy="131948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870B2940-1138-F026-77A0-1BAA685469CA}"/>
              </a:ext>
            </a:extLst>
          </p:cNvPr>
          <p:cNvGrpSpPr/>
          <p:nvPr/>
        </p:nvGrpSpPr>
        <p:grpSpPr>
          <a:xfrm>
            <a:off x="1888475" y="403507"/>
            <a:ext cx="8852901" cy="6314799"/>
            <a:chOff x="1669549" y="593346"/>
            <a:chExt cx="8852901" cy="6314799"/>
          </a:xfrm>
        </p:grpSpPr>
        <p:cxnSp>
          <p:nvCxnSpPr>
            <p:cNvPr id="15" name="Straight Connector 55">
              <a:extLst>
                <a:ext uri="{FF2B5EF4-FFF2-40B4-BE49-F238E27FC236}">
                  <a16:creationId xmlns:a16="http://schemas.microsoft.com/office/drawing/2014/main" id="{9AD01F9F-E37A-E128-53EB-B1D81B445301}"/>
                </a:ext>
              </a:extLst>
            </p:cNvPr>
            <p:cNvCxnSpPr>
              <a:cxnSpLocks/>
            </p:cNvCxnSpPr>
            <p:nvPr/>
          </p:nvCxnSpPr>
          <p:spPr>
            <a:xfrm>
              <a:off x="4484654" y="5024313"/>
              <a:ext cx="3222814" cy="0"/>
            </a:xfrm>
            <a:prstGeom prst="line">
              <a:avLst/>
            </a:prstGeom>
            <a:ln>
              <a:solidFill>
                <a:srgbClr val="2F2F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97" name="그룹 3196">
              <a:extLst>
                <a:ext uri="{FF2B5EF4-FFF2-40B4-BE49-F238E27FC236}">
                  <a16:creationId xmlns:a16="http://schemas.microsoft.com/office/drawing/2014/main" id="{D8A3C545-547A-E7A3-23B1-C5ADB475813E}"/>
                </a:ext>
              </a:extLst>
            </p:cNvPr>
            <p:cNvGrpSpPr/>
            <p:nvPr/>
          </p:nvGrpSpPr>
          <p:grpSpPr>
            <a:xfrm>
              <a:off x="1669549" y="593346"/>
              <a:ext cx="8852901" cy="6314799"/>
              <a:chOff x="1461736" y="406676"/>
              <a:chExt cx="8852901" cy="6314799"/>
            </a:xfrm>
          </p:grpSpPr>
          <p:grpSp>
            <p:nvGrpSpPr>
              <p:cNvPr id="3175" name="그룹 3174">
                <a:extLst>
                  <a:ext uri="{FF2B5EF4-FFF2-40B4-BE49-F238E27FC236}">
                    <a16:creationId xmlns:a16="http://schemas.microsoft.com/office/drawing/2014/main" id="{0A1FDC1F-2929-8BF0-849C-0EE4CC223B9E}"/>
                  </a:ext>
                </a:extLst>
              </p:cNvPr>
              <p:cNvGrpSpPr/>
              <p:nvPr/>
            </p:nvGrpSpPr>
            <p:grpSpPr>
              <a:xfrm>
                <a:off x="1472423" y="406676"/>
                <a:ext cx="8842214" cy="6314799"/>
                <a:chOff x="1713542" y="408622"/>
                <a:chExt cx="8842214" cy="6314799"/>
              </a:xfrm>
            </p:grpSpPr>
            <p:cxnSp>
              <p:nvCxnSpPr>
                <p:cNvPr id="3173" name="Straight Connector 55">
                  <a:extLst>
                    <a:ext uri="{FF2B5EF4-FFF2-40B4-BE49-F238E27FC236}">
                      <a16:creationId xmlns:a16="http://schemas.microsoft.com/office/drawing/2014/main" id="{55D31933-537C-3C02-FF47-1060A5B4F0F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101505" y="1019430"/>
                  <a:ext cx="5416584" cy="0"/>
                </a:xfrm>
                <a:prstGeom prst="line">
                  <a:avLst/>
                </a:prstGeom>
                <a:ln>
                  <a:solidFill>
                    <a:srgbClr val="2F2F3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Straight Connector 55">
                  <a:extLst>
                    <a:ext uri="{FF2B5EF4-FFF2-40B4-BE49-F238E27FC236}">
                      <a16:creationId xmlns:a16="http://schemas.microsoft.com/office/drawing/2014/main" id="{E74FA987-59FB-4FD1-9932-985719294C6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93072" y="3034620"/>
                  <a:ext cx="5625525" cy="0"/>
                </a:xfrm>
                <a:prstGeom prst="line">
                  <a:avLst/>
                </a:prstGeom>
                <a:ln>
                  <a:solidFill>
                    <a:srgbClr val="2F2F3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3134" name="그룹 3133">
                  <a:extLst>
                    <a:ext uri="{FF2B5EF4-FFF2-40B4-BE49-F238E27FC236}">
                      <a16:creationId xmlns:a16="http://schemas.microsoft.com/office/drawing/2014/main" id="{7F91C376-5BFB-DD0A-5723-550DFC72621C}"/>
                    </a:ext>
                  </a:extLst>
                </p:cNvPr>
                <p:cNvGrpSpPr/>
                <p:nvPr/>
              </p:nvGrpSpPr>
              <p:grpSpPr>
                <a:xfrm>
                  <a:off x="1713542" y="2662821"/>
                  <a:ext cx="770088" cy="759060"/>
                  <a:chOff x="2469743" y="985853"/>
                  <a:chExt cx="633622" cy="624548"/>
                </a:xfrm>
              </p:grpSpPr>
              <p:sp>
                <p:nvSpPr>
                  <p:cNvPr id="72" name="Oval 71">
                    <a:extLst>
                      <a:ext uri="{FF2B5EF4-FFF2-40B4-BE49-F238E27FC236}">
                        <a16:creationId xmlns:a16="http://schemas.microsoft.com/office/drawing/2014/main" id="{B41F28C7-00AC-4E90-B1CB-EEEFEBE98677}"/>
                      </a:ext>
                    </a:extLst>
                  </p:cNvPr>
                  <p:cNvSpPr/>
                  <p:nvPr/>
                </p:nvSpPr>
                <p:spPr>
                  <a:xfrm>
                    <a:off x="2469743" y="985853"/>
                    <a:ext cx="624548" cy="624548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1016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73" name="Freeform: Shape 72">
                    <a:extLst>
                      <a:ext uri="{FF2B5EF4-FFF2-40B4-BE49-F238E27FC236}">
                        <a16:creationId xmlns:a16="http://schemas.microsoft.com/office/drawing/2014/main" id="{06D2FA35-B524-4864-B1CC-AECCFD1C72CA}"/>
                      </a:ext>
                    </a:extLst>
                  </p:cNvPr>
                  <p:cNvSpPr/>
                  <p:nvPr/>
                </p:nvSpPr>
                <p:spPr>
                  <a:xfrm>
                    <a:off x="2611897" y="1075665"/>
                    <a:ext cx="491468" cy="489621"/>
                  </a:xfrm>
                  <a:custGeom>
                    <a:avLst/>
                    <a:gdLst>
                      <a:gd name="connsiteX0" fmla="*/ 484825 w 540615"/>
                      <a:gd name="connsiteY0" fmla="*/ 0 h 538583"/>
                      <a:gd name="connsiteX1" fmla="*/ 487027 w 540615"/>
                      <a:gd name="connsiteY1" fmla="*/ 1817 h 538583"/>
                      <a:gd name="connsiteX2" fmla="*/ 528971 w 540615"/>
                      <a:gd name="connsiteY2" fmla="*/ 52654 h 538583"/>
                      <a:gd name="connsiteX3" fmla="*/ 540615 w 540615"/>
                      <a:gd name="connsiteY3" fmla="*/ 74106 h 538583"/>
                      <a:gd name="connsiteX4" fmla="*/ 540615 w 540615"/>
                      <a:gd name="connsiteY4" fmla="*/ 415313 h 538583"/>
                      <a:gd name="connsiteX5" fmla="*/ 528971 w 540615"/>
                      <a:gd name="connsiteY5" fmla="*/ 436765 h 538583"/>
                      <a:gd name="connsiteX6" fmla="*/ 436189 w 540615"/>
                      <a:gd name="connsiteY6" fmla="*/ 529547 h 538583"/>
                      <a:gd name="connsiteX7" fmla="*/ 419540 w 540615"/>
                      <a:gd name="connsiteY7" fmla="*/ 538583 h 538583"/>
                      <a:gd name="connsiteX8" fmla="*/ 68728 w 540615"/>
                      <a:gd name="connsiteY8" fmla="*/ 538583 h 538583"/>
                      <a:gd name="connsiteX9" fmla="*/ 52079 w 540615"/>
                      <a:gd name="connsiteY9" fmla="*/ 529547 h 538583"/>
                      <a:gd name="connsiteX10" fmla="*/ 1241 w 540615"/>
                      <a:gd name="connsiteY10" fmla="*/ 487602 h 538583"/>
                      <a:gd name="connsiteX11" fmla="*/ 0 w 540615"/>
                      <a:gd name="connsiteY11" fmla="*/ 486098 h 5385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540615" h="538583">
                        <a:moveTo>
                          <a:pt x="484825" y="0"/>
                        </a:moveTo>
                        <a:lnTo>
                          <a:pt x="487027" y="1817"/>
                        </a:lnTo>
                        <a:cubicBezTo>
                          <a:pt x="502567" y="17357"/>
                          <a:pt x="516625" y="34379"/>
                          <a:pt x="528971" y="52654"/>
                        </a:cubicBezTo>
                        <a:lnTo>
                          <a:pt x="540615" y="74106"/>
                        </a:lnTo>
                        <a:lnTo>
                          <a:pt x="540615" y="415313"/>
                        </a:lnTo>
                        <a:lnTo>
                          <a:pt x="528971" y="436765"/>
                        </a:lnTo>
                        <a:cubicBezTo>
                          <a:pt x="504279" y="473313"/>
                          <a:pt x="472738" y="504855"/>
                          <a:pt x="436189" y="529547"/>
                        </a:cubicBezTo>
                        <a:lnTo>
                          <a:pt x="419540" y="538583"/>
                        </a:lnTo>
                        <a:lnTo>
                          <a:pt x="68728" y="538583"/>
                        </a:lnTo>
                        <a:lnTo>
                          <a:pt x="52079" y="529547"/>
                        </a:lnTo>
                        <a:cubicBezTo>
                          <a:pt x="33804" y="517201"/>
                          <a:pt x="16782" y="503142"/>
                          <a:pt x="1241" y="487602"/>
                        </a:cubicBezTo>
                        <a:lnTo>
                          <a:pt x="0" y="486098"/>
                        </a:lnTo>
                        <a:close/>
                      </a:path>
                    </a:pathLst>
                  </a:custGeom>
                  <a:solidFill>
                    <a:schemeClr val="bg1">
                      <a:alpha val="2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  <p:pic>
                <p:nvPicPr>
                  <p:cNvPr id="3100" name="Picture 28" descr="Walk Icon 4820465">
                    <a:extLst>
                      <a:ext uri="{FF2B5EF4-FFF2-40B4-BE49-F238E27FC236}">
                        <a16:creationId xmlns:a16="http://schemas.microsoft.com/office/drawing/2014/main" id="{3AD126E3-8F71-3FA9-7308-9D3C28DB67D7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7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515087" y="1037570"/>
                    <a:ext cx="528438" cy="52843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grpSp>
              <p:nvGrpSpPr>
                <p:cNvPr id="3171" name="그룹 3170">
                  <a:extLst>
                    <a:ext uri="{FF2B5EF4-FFF2-40B4-BE49-F238E27FC236}">
                      <a16:creationId xmlns:a16="http://schemas.microsoft.com/office/drawing/2014/main" id="{90F6E758-13F6-446B-476D-5E50262A133F}"/>
                    </a:ext>
                  </a:extLst>
                </p:cNvPr>
                <p:cNvGrpSpPr/>
                <p:nvPr/>
              </p:nvGrpSpPr>
              <p:grpSpPr>
                <a:xfrm>
                  <a:off x="4108322" y="2558379"/>
                  <a:ext cx="770088" cy="829380"/>
                  <a:chOff x="5134618" y="946363"/>
                  <a:chExt cx="770088" cy="829380"/>
                </a:xfrm>
              </p:grpSpPr>
              <p:sp>
                <p:nvSpPr>
                  <p:cNvPr id="78" name="Oval 77">
                    <a:extLst>
                      <a:ext uri="{FF2B5EF4-FFF2-40B4-BE49-F238E27FC236}">
                        <a16:creationId xmlns:a16="http://schemas.microsoft.com/office/drawing/2014/main" id="{E8930744-61C7-481A-9852-F7FCE714B623}"/>
                      </a:ext>
                    </a:extLst>
                  </p:cNvPr>
                  <p:cNvSpPr/>
                  <p:nvPr/>
                </p:nvSpPr>
                <p:spPr>
                  <a:xfrm>
                    <a:off x="5134618" y="1016683"/>
                    <a:ext cx="759060" cy="759060"/>
                  </a:xfrm>
                  <a:prstGeom prst="ellipse">
                    <a:avLst/>
                  </a:prstGeom>
                  <a:solidFill>
                    <a:srgbClr val="92D050"/>
                  </a:solidFill>
                  <a:ln w="1016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79" name="Freeform: Shape 78">
                    <a:extLst>
                      <a:ext uri="{FF2B5EF4-FFF2-40B4-BE49-F238E27FC236}">
                        <a16:creationId xmlns:a16="http://schemas.microsoft.com/office/drawing/2014/main" id="{8B0813B8-70CF-4C4B-90BC-7290D935F383}"/>
                      </a:ext>
                    </a:extLst>
                  </p:cNvPr>
                  <p:cNvSpPr/>
                  <p:nvPr/>
                </p:nvSpPr>
                <p:spPr>
                  <a:xfrm>
                    <a:off x="5307388" y="1125838"/>
                    <a:ext cx="597318" cy="595073"/>
                  </a:xfrm>
                  <a:custGeom>
                    <a:avLst/>
                    <a:gdLst>
                      <a:gd name="connsiteX0" fmla="*/ 484825 w 540615"/>
                      <a:gd name="connsiteY0" fmla="*/ 0 h 538583"/>
                      <a:gd name="connsiteX1" fmla="*/ 487027 w 540615"/>
                      <a:gd name="connsiteY1" fmla="*/ 1817 h 538583"/>
                      <a:gd name="connsiteX2" fmla="*/ 528971 w 540615"/>
                      <a:gd name="connsiteY2" fmla="*/ 52654 h 538583"/>
                      <a:gd name="connsiteX3" fmla="*/ 540615 w 540615"/>
                      <a:gd name="connsiteY3" fmla="*/ 74106 h 538583"/>
                      <a:gd name="connsiteX4" fmla="*/ 540615 w 540615"/>
                      <a:gd name="connsiteY4" fmla="*/ 415313 h 538583"/>
                      <a:gd name="connsiteX5" fmla="*/ 528971 w 540615"/>
                      <a:gd name="connsiteY5" fmla="*/ 436765 h 538583"/>
                      <a:gd name="connsiteX6" fmla="*/ 436189 w 540615"/>
                      <a:gd name="connsiteY6" fmla="*/ 529547 h 538583"/>
                      <a:gd name="connsiteX7" fmla="*/ 419540 w 540615"/>
                      <a:gd name="connsiteY7" fmla="*/ 538583 h 538583"/>
                      <a:gd name="connsiteX8" fmla="*/ 68728 w 540615"/>
                      <a:gd name="connsiteY8" fmla="*/ 538583 h 538583"/>
                      <a:gd name="connsiteX9" fmla="*/ 52079 w 540615"/>
                      <a:gd name="connsiteY9" fmla="*/ 529547 h 538583"/>
                      <a:gd name="connsiteX10" fmla="*/ 1241 w 540615"/>
                      <a:gd name="connsiteY10" fmla="*/ 487602 h 538583"/>
                      <a:gd name="connsiteX11" fmla="*/ 0 w 540615"/>
                      <a:gd name="connsiteY11" fmla="*/ 486098 h 5385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540615" h="538583">
                        <a:moveTo>
                          <a:pt x="484825" y="0"/>
                        </a:moveTo>
                        <a:lnTo>
                          <a:pt x="487027" y="1817"/>
                        </a:lnTo>
                        <a:cubicBezTo>
                          <a:pt x="502567" y="17357"/>
                          <a:pt x="516625" y="34379"/>
                          <a:pt x="528971" y="52654"/>
                        </a:cubicBezTo>
                        <a:lnTo>
                          <a:pt x="540615" y="74106"/>
                        </a:lnTo>
                        <a:lnTo>
                          <a:pt x="540615" y="415313"/>
                        </a:lnTo>
                        <a:lnTo>
                          <a:pt x="528971" y="436765"/>
                        </a:lnTo>
                        <a:cubicBezTo>
                          <a:pt x="504279" y="473313"/>
                          <a:pt x="472738" y="504855"/>
                          <a:pt x="436189" y="529547"/>
                        </a:cubicBezTo>
                        <a:lnTo>
                          <a:pt x="419540" y="538583"/>
                        </a:lnTo>
                        <a:lnTo>
                          <a:pt x="68728" y="538583"/>
                        </a:lnTo>
                        <a:lnTo>
                          <a:pt x="52079" y="529547"/>
                        </a:lnTo>
                        <a:cubicBezTo>
                          <a:pt x="33804" y="517201"/>
                          <a:pt x="16782" y="503142"/>
                          <a:pt x="1241" y="487602"/>
                        </a:cubicBezTo>
                        <a:lnTo>
                          <a:pt x="0" y="486098"/>
                        </a:lnTo>
                        <a:close/>
                      </a:path>
                    </a:pathLst>
                  </a:custGeom>
                  <a:solidFill>
                    <a:schemeClr val="bg1">
                      <a:alpha val="2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 dirty="0"/>
                  </a:p>
                </p:txBody>
              </p:sp>
              <p:pic>
                <p:nvPicPr>
                  <p:cNvPr id="3142" name="Picture 32" descr="sleep Icon 1449218">
                    <a:extLst>
                      <a:ext uri="{FF2B5EF4-FFF2-40B4-BE49-F238E27FC236}">
                        <a16:creationId xmlns:a16="http://schemas.microsoft.com/office/drawing/2014/main" id="{EDDDAA70-B1D7-F81B-69AF-432CF5A14B6B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8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5142127" y="946363"/>
                    <a:ext cx="742708" cy="74270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grpSp>
              <p:nvGrpSpPr>
                <p:cNvPr id="3170" name="그룹 3169">
                  <a:extLst>
                    <a:ext uri="{FF2B5EF4-FFF2-40B4-BE49-F238E27FC236}">
                      <a16:creationId xmlns:a16="http://schemas.microsoft.com/office/drawing/2014/main" id="{8020C7A7-6DE0-46B5-E0CB-FEFB49B1C8CA}"/>
                    </a:ext>
                  </a:extLst>
                </p:cNvPr>
                <p:cNvGrpSpPr/>
                <p:nvPr/>
              </p:nvGrpSpPr>
              <p:grpSpPr>
                <a:xfrm>
                  <a:off x="4128209" y="587893"/>
                  <a:ext cx="785875" cy="1916225"/>
                  <a:chOff x="3151187" y="1243329"/>
                  <a:chExt cx="785875" cy="1916225"/>
                </a:xfrm>
              </p:grpSpPr>
              <p:sp>
                <p:nvSpPr>
                  <p:cNvPr id="75" name="Oval 74">
                    <a:extLst>
                      <a:ext uri="{FF2B5EF4-FFF2-40B4-BE49-F238E27FC236}">
                        <a16:creationId xmlns:a16="http://schemas.microsoft.com/office/drawing/2014/main" id="{65815A8E-B403-45A9-9282-A81351CD169C}"/>
                      </a:ext>
                    </a:extLst>
                  </p:cNvPr>
                  <p:cNvSpPr/>
                  <p:nvPr/>
                </p:nvSpPr>
                <p:spPr>
                  <a:xfrm>
                    <a:off x="3151187" y="1255850"/>
                    <a:ext cx="759060" cy="759060"/>
                  </a:xfrm>
                  <a:prstGeom prst="ellipse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  <a:ln w="1016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76" name="Freeform: Shape 75">
                    <a:extLst>
                      <a:ext uri="{FF2B5EF4-FFF2-40B4-BE49-F238E27FC236}">
                        <a16:creationId xmlns:a16="http://schemas.microsoft.com/office/drawing/2014/main" id="{53108F9C-AFD9-45CB-A1B1-3D97601CFC77}"/>
                      </a:ext>
                    </a:extLst>
                  </p:cNvPr>
                  <p:cNvSpPr/>
                  <p:nvPr/>
                </p:nvSpPr>
                <p:spPr>
                  <a:xfrm>
                    <a:off x="3323958" y="2564481"/>
                    <a:ext cx="597318" cy="595073"/>
                  </a:xfrm>
                  <a:custGeom>
                    <a:avLst/>
                    <a:gdLst>
                      <a:gd name="connsiteX0" fmla="*/ 484825 w 540615"/>
                      <a:gd name="connsiteY0" fmla="*/ 0 h 538583"/>
                      <a:gd name="connsiteX1" fmla="*/ 487027 w 540615"/>
                      <a:gd name="connsiteY1" fmla="*/ 1817 h 538583"/>
                      <a:gd name="connsiteX2" fmla="*/ 528971 w 540615"/>
                      <a:gd name="connsiteY2" fmla="*/ 52654 h 538583"/>
                      <a:gd name="connsiteX3" fmla="*/ 540615 w 540615"/>
                      <a:gd name="connsiteY3" fmla="*/ 74106 h 538583"/>
                      <a:gd name="connsiteX4" fmla="*/ 540615 w 540615"/>
                      <a:gd name="connsiteY4" fmla="*/ 415313 h 538583"/>
                      <a:gd name="connsiteX5" fmla="*/ 528971 w 540615"/>
                      <a:gd name="connsiteY5" fmla="*/ 436765 h 538583"/>
                      <a:gd name="connsiteX6" fmla="*/ 436189 w 540615"/>
                      <a:gd name="connsiteY6" fmla="*/ 529547 h 538583"/>
                      <a:gd name="connsiteX7" fmla="*/ 419540 w 540615"/>
                      <a:gd name="connsiteY7" fmla="*/ 538583 h 538583"/>
                      <a:gd name="connsiteX8" fmla="*/ 68728 w 540615"/>
                      <a:gd name="connsiteY8" fmla="*/ 538583 h 538583"/>
                      <a:gd name="connsiteX9" fmla="*/ 52079 w 540615"/>
                      <a:gd name="connsiteY9" fmla="*/ 529547 h 538583"/>
                      <a:gd name="connsiteX10" fmla="*/ 1241 w 540615"/>
                      <a:gd name="connsiteY10" fmla="*/ 487602 h 538583"/>
                      <a:gd name="connsiteX11" fmla="*/ 0 w 540615"/>
                      <a:gd name="connsiteY11" fmla="*/ 486098 h 5385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540615" h="538583">
                        <a:moveTo>
                          <a:pt x="484825" y="0"/>
                        </a:moveTo>
                        <a:lnTo>
                          <a:pt x="487027" y="1817"/>
                        </a:lnTo>
                        <a:cubicBezTo>
                          <a:pt x="502567" y="17357"/>
                          <a:pt x="516625" y="34379"/>
                          <a:pt x="528971" y="52654"/>
                        </a:cubicBezTo>
                        <a:lnTo>
                          <a:pt x="540615" y="74106"/>
                        </a:lnTo>
                        <a:lnTo>
                          <a:pt x="540615" y="415313"/>
                        </a:lnTo>
                        <a:lnTo>
                          <a:pt x="528971" y="436765"/>
                        </a:lnTo>
                        <a:cubicBezTo>
                          <a:pt x="504279" y="473313"/>
                          <a:pt x="472738" y="504855"/>
                          <a:pt x="436189" y="529547"/>
                        </a:cubicBezTo>
                        <a:lnTo>
                          <a:pt x="419540" y="538583"/>
                        </a:lnTo>
                        <a:lnTo>
                          <a:pt x="68728" y="538583"/>
                        </a:lnTo>
                        <a:lnTo>
                          <a:pt x="52079" y="529547"/>
                        </a:lnTo>
                        <a:cubicBezTo>
                          <a:pt x="33804" y="517201"/>
                          <a:pt x="16782" y="503142"/>
                          <a:pt x="1241" y="487602"/>
                        </a:cubicBezTo>
                        <a:lnTo>
                          <a:pt x="0" y="486098"/>
                        </a:lnTo>
                        <a:close/>
                      </a:path>
                    </a:pathLst>
                  </a:custGeom>
                  <a:solidFill>
                    <a:schemeClr val="bg1">
                      <a:alpha val="2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  <p:pic>
                <p:nvPicPr>
                  <p:cNvPr id="3156" name="Picture 36" descr="Exit Icon 2346455">
                    <a:extLst>
                      <a:ext uri="{FF2B5EF4-FFF2-40B4-BE49-F238E27FC236}">
                        <a16:creationId xmlns:a16="http://schemas.microsoft.com/office/drawing/2014/main" id="{3554B62F-E72D-2388-1585-22D16BC98FE0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9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166940" y="1243329"/>
                    <a:ext cx="770122" cy="770122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sp>
              <p:nvSpPr>
                <p:cNvPr id="80" name="Rectangle 79">
                  <a:extLst>
                    <a:ext uri="{FF2B5EF4-FFF2-40B4-BE49-F238E27FC236}">
                      <a16:creationId xmlns:a16="http://schemas.microsoft.com/office/drawing/2014/main" id="{67843A35-E4B6-4D9B-8B84-6C5B0E8CAFE8}"/>
                    </a:ext>
                  </a:extLst>
                </p:cNvPr>
                <p:cNvSpPr/>
                <p:nvPr/>
              </p:nvSpPr>
              <p:spPr>
                <a:xfrm>
                  <a:off x="4661847" y="1473802"/>
                  <a:ext cx="2112532" cy="1571068"/>
                </a:xfrm>
                <a:prstGeom prst="rect">
                  <a:avLst/>
                </a:prstGeom>
              </p:spPr>
              <p:txBody>
                <a:bodyPr wrap="square" lIns="0" tIns="0" rIns="0" bIns="0">
                  <a:noAutofit/>
                </a:bodyPr>
                <a:lstStyle/>
                <a:p>
                  <a:pPr>
                    <a:spcBef>
                      <a:spcPts val="600"/>
                    </a:spcBef>
                  </a:pPr>
                  <a:r>
                    <a:rPr lang="ko-KR" altLang="en-US" sz="1500" b="0" i="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ffectLst/>
                      <a:latin typeface="HY견고딕" panose="02030600000101010101" pitchFamily="18" charset="-127"/>
                      <a:ea typeface="HY견고딕" panose="02030600000101010101" pitchFamily="18" charset="-127"/>
                      <a:cs typeface="Segoe UI" panose="020B0502040204020203" pitchFamily="34" charset="0"/>
                    </a:rPr>
                    <a:t>외출 시</a:t>
                  </a:r>
                  <a:r>
                    <a:rPr lang="en-US" altLang="ko-KR" sz="15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HY견고딕" panose="02030600000101010101" pitchFamily="18" charset="-127"/>
                      <a:ea typeface="HY견고딕" panose="02030600000101010101" pitchFamily="18" charset="-127"/>
                      <a:cs typeface="Segoe UI" panose="020B0502040204020203" pitchFamily="34" charset="0"/>
                    </a:rPr>
                    <a:t> </a:t>
                  </a:r>
                  <a:r>
                    <a:rPr lang="ko-KR" altLang="en-US" sz="1500" b="0" i="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ffectLst/>
                      <a:latin typeface="HY견고딕" panose="02030600000101010101" pitchFamily="18" charset="-127"/>
                      <a:ea typeface="HY견고딕" panose="02030600000101010101" pitchFamily="18" charset="-127"/>
                      <a:cs typeface="Segoe UI" panose="020B0502040204020203" pitchFamily="34" charset="0"/>
                    </a:rPr>
                    <a:t>전날 입력해둔 경로를 따라 이동할 수 있도록 지원</a:t>
                  </a:r>
                  <a:endParaRPr lang="en-US" sz="1500" b="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HY견고딕" panose="02030600000101010101" pitchFamily="18" charset="-127"/>
                    <a:ea typeface="HY견고딕" panose="02030600000101010101" pitchFamily="18" charset="-127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FBC8C79A-262A-4117-A1D6-0B7D655FBE45}"/>
                    </a:ext>
                  </a:extLst>
                </p:cNvPr>
                <p:cNvSpPr/>
                <p:nvPr/>
              </p:nvSpPr>
              <p:spPr>
                <a:xfrm>
                  <a:off x="2263274" y="3458898"/>
                  <a:ext cx="1996936" cy="530232"/>
                </a:xfrm>
                <a:prstGeom prst="rect">
                  <a:avLst/>
                </a:prstGeom>
              </p:spPr>
              <p:txBody>
                <a:bodyPr wrap="square" lIns="0" tIns="0" rIns="0" bIns="0" anchor="b" anchorCtr="0">
                  <a:noAutofit/>
                </a:bodyPr>
                <a:lstStyle/>
                <a:p>
                  <a:pPr>
                    <a:spcBef>
                      <a:spcPts val="600"/>
                    </a:spcBef>
                  </a:pPr>
                  <a:r>
                    <a:rPr lang="ko-KR" altLang="en-US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HY견고딕" panose="02030600000101010101" pitchFamily="18" charset="-127"/>
                      <a:ea typeface="HY견고딕" panose="02030600000101010101" pitchFamily="18" charset="-127"/>
                      <a:cs typeface="Segoe UI" panose="020B0502040204020203" pitchFamily="34" charset="0"/>
                    </a:rPr>
                    <a:t>사용자의 도보속도를 고려한 도보설정 기능</a:t>
                  </a:r>
                  <a:endParaRPr lang="en-US" sz="1600" b="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HY견고딕" panose="02030600000101010101" pitchFamily="18" charset="-127"/>
                    <a:ea typeface="HY견고딕" panose="02030600000101010101" pitchFamily="18" charset="-127"/>
                    <a:cs typeface="Segoe UI" panose="020B0502040204020203" pitchFamily="34" charset="0"/>
                  </a:endParaRPr>
                </a:p>
              </p:txBody>
            </p:sp>
            <p:cxnSp>
              <p:nvCxnSpPr>
                <p:cNvPr id="3083" name="직선 연결선 3082">
                  <a:extLst>
                    <a:ext uri="{FF2B5EF4-FFF2-40B4-BE49-F238E27FC236}">
                      <a16:creationId xmlns:a16="http://schemas.microsoft.com/office/drawing/2014/main" id="{60437B0D-4C54-CF12-5FBD-61C5D3ACDB4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517960" y="3414150"/>
                  <a:ext cx="0" cy="1030986"/>
                </a:xfrm>
                <a:prstGeom prst="line">
                  <a:avLst/>
                </a:prstGeom>
                <a:ln>
                  <a:solidFill>
                    <a:srgbClr val="2F2F3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84" name="직선 연결선 3083">
                  <a:extLst>
                    <a:ext uri="{FF2B5EF4-FFF2-40B4-BE49-F238E27FC236}">
                      <a16:creationId xmlns:a16="http://schemas.microsoft.com/office/drawing/2014/main" id="{10E4F65D-4176-4FB3-D03C-221E5A48F35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487185" y="1410368"/>
                  <a:ext cx="0" cy="1084322"/>
                </a:xfrm>
                <a:prstGeom prst="line">
                  <a:avLst/>
                </a:prstGeom>
                <a:ln>
                  <a:solidFill>
                    <a:srgbClr val="2F2F3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58" name="TextBox 3157">
                  <a:extLst>
                    <a:ext uri="{FF2B5EF4-FFF2-40B4-BE49-F238E27FC236}">
                      <a16:creationId xmlns:a16="http://schemas.microsoft.com/office/drawing/2014/main" id="{7CF4E49B-B181-5614-58BE-39939D0ABE8B}"/>
                    </a:ext>
                  </a:extLst>
                </p:cNvPr>
                <p:cNvSpPr txBox="1"/>
                <p:nvPr/>
              </p:nvSpPr>
              <p:spPr>
                <a:xfrm>
                  <a:off x="4724097" y="3430783"/>
                  <a:ext cx="1825579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ko-KR" altLang="en-US" sz="1600" b="0" i="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ffectLst/>
                      <a:latin typeface="HY견고딕" panose="02030600000101010101" pitchFamily="18" charset="-127"/>
                      <a:ea typeface="HY견고딕" panose="02030600000101010101" pitchFamily="18" charset="-127"/>
                      <a:cs typeface="Segoe UI" panose="020B0502040204020203" pitchFamily="34" charset="0"/>
                    </a:rPr>
                    <a:t>외출 준비시간</a:t>
                  </a:r>
                  <a:endParaRPr lang="en-US" altLang="ko-KR" sz="1600" b="0" i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HY견고딕" panose="02030600000101010101" pitchFamily="18" charset="-127"/>
                    <a:ea typeface="HY견고딕" panose="02030600000101010101" pitchFamily="18" charset="-127"/>
                    <a:cs typeface="Segoe UI" panose="020B0502040204020203" pitchFamily="34" charset="0"/>
                  </a:endParaRPr>
                </a:p>
                <a:p>
                  <a:r>
                    <a:rPr lang="ko-KR" altLang="en-US" sz="1600" b="0" i="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effectLst/>
                      <a:latin typeface="HY견고딕" panose="02030600000101010101" pitchFamily="18" charset="-127"/>
                      <a:ea typeface="HY견고딕" panose="02030600000101010101" pitchFamily="18" charset="-127"/>
                      <a:cs typeface="Segoe UI" panose="020B0502040204020203" pitchFamily="34" charset="0"/>
                    </a:rPr>
                    <a:t>측정 및 설정</a:t>
                  </a:r>
                  <a:endParaRPr lang="ko-KR" altLang="en-US" sz="1600" dirty="0">
                    <a:latin typeface="HY견고딕" panose="02030600000101010101" pitchFamily="18" charset="-127"/>
                    <a:ea typeface="HY견고딕" panose="02030600000101010101" pitchFamily="18" charset="-127"/>
                  </a:endParaRPr>
                </a:p>
              </p:txBody>
            </p:sp>
            <p:grpSp>
              <p:nvGrpSpPr>
                <p:cNvPr id="3169" name="그룹 3168">
                  <a:extLst>
                    <a:ext uri="{FF2B5EF4-FFF2-40B4-BE49-F238E27FC236}">
                      <a16:creationId xmlns:a16="http://schemas.microsoft.com/office/drawing/2014/main" id="{0874DCA4-A822-BD46-7A86-E151BE170C20}"/>
                    </a:ext>
                  </a:extLst>
                </p:cNvPr>
                <p:cNvGrpSpPr/>
                <p:nvPr/>
              </p:nvGrpSpPr>
              <p:grpSpPr>
                <a:xfrm>
                  <a:off x="6134191" y="408622"/>
                  <a:ext cx="4421565" cy="6314799"/>
                  <a:chOff x="7200685" y="686597"/>
                  <a:chExt cx="3931651" cy="5764687"/>
                </a:xfrm>
              </p:grpSpPr>
              <p:sp>
                <p:nvSpPr>
                  <p:cNvPr id="3" name="Rectangle: Rounded Corners 148">
                    <a:extLst>
                      <a:ext uri="{FF2B5EF4-FFF2-40B4-BE49-F238E27FC236}">
                        <a16:creationId xmlns:a16="http://schemas.microsoft.com/office/drawing/2014/main" id="{ED3D5F18-2C3B-F163-0CBF-198954EDFF9E}"/>
                      </a:ext>
                    </a:extLst>
                  </p:cNvPr>
                  <p:cNvSpPr/>
                  <p:nvPr/>
                </p:nvSpPr>
                <p:spPr>
                  <a:xfrm>
                    <a:off x="7893078" y="821125"/>
                    <a:ext cx="2561481" cy="5261364"/>
                  </a:xfrm>
                  <a:prstGeom prst="roundRect">
                    <a:avLst>
                      <a:gd name="adj" fmla="val 7098"/>
                    </a:avLst>
                  </a:prstGeom>
                  <a:solidFill>
                    <a:schemeClr val="bg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grpSp>
                <p:nvGrpSpPr>
                  <p:cNvPr id="10" name="그룹 9">
                    <a:extLst>
                      <a:ext uri="{FF2B5EF4-FFF2-40B4-BE49-F238E27FC236}">
                        <a16:creationId xmlns:a16="http://schemas.microsoft.com/office/drawing/2014/main" id="{48183662-1BAD-B5A5-44AF-F9215BCC7AFF}"/>
                      </a:ext>
                    </a:extLst>
                  </p:cNvPr>
                  <p:cNvGrpSpPr/>
                  <p:nvPr/>
                </p:nvGrpSpPr>
                <p:grpSpPr>
                  <a:xfrm>
                    <a:off x="9819596" y="1595843"/>
                    <a:ext cx="636241" cy="886124"/>
                    <a:chOff x="5109736" y="3501498"/>
                    <a:chExt cx="636241" cy="914400"/>
                  </a:xfrm>
                  <a:solidFill>
                    <a:schemeClr val="bg2">
                      <a:lumMod val="90000"/>
                    </a:schemeClr>
                  </a:solidFill>
                </p:grpSpPr>
                <p:sp>
                  <p:nvSpPr>
                    <p:cNvPr id="146" name="사각형: 둥근 모서리 145">
                      <a:extLst>
                        <a:ext uri="{FF2B5EF4-FFF2-40B4-BE49-F238E27FC236}">
                          <a16:creationId xmlns:a16="http://schemas.microsoft.com/office/drawing/2014/main" id="{F7558864-E975-2BD3-6E15-2D5EF3F386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109736" y="3501498"/>
                      <a:ext cx="634963" cy="914400"/>
                    </a:xfrm>
                    <a:prstGeom prst="round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/>
                    </a:p>
                  </p:txBody>
                </p:sp>
                <p:sp>
                  <p:nvSpPr>
                    <p:cNvPr id="147" name="직사각형 146">
                      <a:extLst>
                        <a:ext uri="{FF2B5EF4-FFF2-40B4-BE49-F238E27FC236}">
                          <a16:creationId xmlns:a16="http://schemas.microsoft.com/office/drawing/2014/main" id="{1EA8C1F0-EF7B-1675-86E0-B463B7C60A5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429997" y="4182260"/>
                      <a:ext cx="315980" cy="233638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/>
                    </a:p>
                  </p:txBody>
                </p:sp>
              </p:grpSp>
              <p:sp>
                <p:nvSpPr>
                  <p:cNvPr id="50" name="Rectangle: Top Corners Rounded 149">
                    <a:extLst>
                      <a:ext uri="{FF2B5EF4-FFF2-40B4-BE49-F238E27FC236}">
                        <a16:creationId xmlns:a16="http://schemas.microsoft.com/office/drawing/2014/main" id="{DD662135-3ECF-E643-A381-29BCE2033F36}"/>
                      </a:ext>
                    </a:extLst>
                  </p:cNvPr>
                  <p:cNvSpPr/>
                  <p:nvPr/>
                </p:nvSpPr>
                <p:spPr>
                  <a:xfrm>
                    <a:off x="7893078" y="821124"/>
                    <a:ext cx="2561481" cy="1052274"/>
                  </a:xfrm>
                  <a:prstGeom prst="round2SameRect">
                    <a:avLst>
                      <a:gd name="adj1" fmla="val 16667"/>
                      <a:gd name="adj2" fmla="val 20175"/>
                    </a:avLst>
                  </a:prstGeom>
                  <a:gradFill>
                    <a:gsLst>
                      <a:gs pos="100000">
                        <a:srgbClr val="4757B8"/>
                      </a:gs>
                      <a:gs pos="38000">
                        <a:srgbClr val="7983D7"/>
                      </a:gs>
                    </a:gsLst>
                    <a:lin ang="8100000" scaled="1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grpSp>
                <p:nvGrpSpPr>
                  <p:cNvPr id="51" name="그룹 50">
                    <a:extLst>
                      <a:ext uri="{FF2B5EF4-FFF2-40B4-BE49-F238E27FC236}">
                        <a16:creationId xmlns:a16="http://schemas.microsoft.com/office/drawing/2014/main" id="{C728CC2E-823B-95CA-3737-EFEC6DD93790}"/>
                      </a:ext>
                    </a:extLst>
                  </p:cNvPr>
                  <p:cNvGrpSpPr/>
                  <p:nvPr/>
                </p:nvGrpSpPr>
                <p:grpSpPr>
                  <a:xfrm>
                    <a:off x="8969227" y="1141236"/>
                    <a:ext cx="1095948" cy="412048"/>
                    <a:chOff x="3906460" y="3038948"/>
                    <a:chExt cx="1095948" cy="425196"/>
                  </a:xfrm>
                </p:grpSpPr>
                <p:sp>
                  <p:nvSpPr>
                    <p:cNvPr id="140" name="타원 139">
                      <a:extLst>
                        <a:ext uri="{FF2B5EF4-FFF2-40B4-BE49-F238E27FC236}">
                          <a16:creationId xmlns:a16="http://schemas.microsoft.com/office/drawing/2014/main" id="{A99A88D3-5E61-5592-B9A8-3BDBA34FCD41}"/>
                        </a:ext>
                      </a:extLst>
                    </p:cNvPr>
                    <p:cNvSpPr/>
                    <p:nvPr/>
                  </p:nvSpPr>
                  <p:spPr>
                    <a:xfrm flipH="1" flipV="1">
                      <a:off x="4946037" y="3071043"/>
                      <a:ext cx="45719" cy="45719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/>
                    </a:p>
                  </p:txBody>
                </p:sp>
                <p:sp>
                  <p:nvSpPr>
                    <p:cNvPr id="141" name="타원 140">
                      <a:extLst>
                        <a:ext uri="{FF2B5EF4-FFF2-40B4-BE49-F238E27FC236}">
                          <a16:creationId xmlns:a16="http://schemas.microsoft.com/office/drawing/2014/main" id="{46055914-A223-BFA4-B55E-3BD54E643F4C}"/>
                        </a:ext>
                      </a:extLst>
                    </p:cNvPr>
                    <p:cNvSpPr/>
                    <p:nvPr/>
                  </p:nvSpPr>
                  <p:spPr>
                    <a:xfrm flipH="1" flipV="1">
                      <a:off x="4947645" y="3232925"/>
                      <a:ext cx="45719" cy="45719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/>
                    </a:p>
                  </p:txBody>
                </p:sp>
                <p:sp>
                  <p:nvSpPr>
                    <p:cNvPr id="142" name="타원 141">
                      <a:extLst>
                        <a:ext uri="{FF2B5EF4-FFF2-40B4-BE49-F238E27FC236}">
                          <a16:creationId xmlns:a16="http://schemas.microsoft.com/office/drawing/2014/main" id="{A867DD9C-545B-FCBC-7F46-FAA4A760EA95}"/>
                        </a:ext>
                      </a:extLst>
                    </p:cNvPr>
                    <p:cNvSpPr/>
                    <p:nvPr/>
                  </p:nvSpPr>
                  <p:spPr>
                    <a:xfrm flipH="1" flipV="1">
                      <a:off x="4946037" y="3386123"/>
                      <a:ext cx="45719" cy="45719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/>
                    </a:p>
                  </p:txBody>
                </p:sp>
                <p:cxnSp>
                  <p:nvCxnSpPr>
                    <p:cNvPr id="143" name="직선 연결선 142">
                      <a:extLst>
                        <a:ext uri="{FF2B5EF4-FFF2-40B4-BE49-F238E27FC236}">
                          <a16:creationId xmlns:a16="http://schemas.microsoft.com/office/drawing/2014/main" id="{B41D1F98-66F2-2C5D-5DAD-3B623D3CD42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4971191" y="3102782"/>
                      <a:ext cx="0" cy="342762"/>
                    </a:xfrm>
                    <a:prstGeom prst="line">
                      <a:avLst/>
                    </a:prstGeom>
                    <a:ln>
                      <a:solidFill>
                        <a:schemeClr val="bg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144" name="Rectangle: Rounded Corners 158">
                      <a:extLst>
                        <a:ext uri="{FF2B5EF4-FFF2-40B4-BE49-F238E27FC236}">
                          <a16:creationId xmlns:a16="http://schemas.microsoft.com/office/drawing/2014/main" id="{D597D41C-A260-799C-EA51-A7B023E5365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906460" y="3330621"/>
                      <a:ext cx="1095948" cy="133523"/>
                    </a:xfrm>
                    <a:prstGeom prst="roundRect">
                      <a:avLst>
                        <a:gd name="adj" fmla="val 7098"/>
                      </a:avLst>
                    </a:prstGeom>
                    <a:solidFill>
                      <a:schemeClr val="bg1"/>
                    </a:solidFill>
                    <a:ln>
                      <a:noFill/>
                    </a:ln>
                    <a:effectLst>
                      <a:outerShdw blurRad="50800" dist="38100" dir="5400000" algn="t" rotWithShape="0">
                        <a:srgbClr val="7983D7">
                          <a:alpha val="40000"/>
                        </a:srgb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145" name="Rectangle: Rounded Corners 158">
                      <a:extLst>
                        <a:ext uri="{FF2B5EF4-FFF2-40B4-BE49-F238E27FC236}">
                          <a16:creationId xmlns:a16="http://schemas.microsoft.com/office/drawing/2014/main" id="{5405289D-297F-0861-5292-19B51355D3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906460" y="3038948"/>
                      <a:ext cx="1095948" cy="133523"/>
                    </a:xfrm>
                    <a:prstGeom prst="roundRect">
                      <a:avLst>
                        <a:gd name="adj" fmla="val 7098"/>
                      </a:avLst>
                    </a:prstGeom>
                    <a:solidFill>
                      <a:schemeClr val="bg1"/>
                    </a:solidFill>
                    <a:ln>
                      <a:noFill/>
                    </a:ln>
                    <a:effectLst>
                      <a:outerShdw blurRad="50800" dist="38100" dir="5400000" algn="t" rotWithShape="0">
                        <a:srgbClr val="7983D7">
                          <a:alpha val="40000"/>
                        </a:srgb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</p:grpSp>
              <p:grpSp>
                <p:nvGrpSpPr>
                  <p:cNvPr id="55" name="그룹 54">
                    <a:extLst>
                      <a:ext uri="{FF2B5EF4-FFF2-40B4-BE49-F238E27FC236}">
                        <a16:creationId xmlns:a16="http://schemas.microsoft.com/office/drawing/2014/main" id="{EFEA8B12-0C7A-9449-4794-725BA82ABFD0}"/>
                      </a:ext>
                    </a:extLst>
                  </p:cNvPr>
                  <p:cNvGrpSpPr/>
                  <p:nvPr/>
                </p:nvGrpSpPr>
                <p:grpSpPr>
                  <a:xfrm>
                    <a:off x="9307052" y="1873397"/>
                    <a:ext cx="1228324" cy="4244845"/>
                    <a:chOff x="4597192" y="3787909"/>
                    <a:chExt cx="1228324" cy="4380295"/>
                  </a:xfrm>
                  <a:solidFill>
                    <a:schemeClr val="bg1">
                      <a:lumMod val="65000"/>
                    </a:schemeClr>
                  </a:solidFill>
                </p:grpSpPr>
                <p:sp>
                  <p:nvSpPr>
                    <p:cNvPr id="134" name="직사각형 133">
                      <a:extLst>
                        <a:ext uri="{FF2B5EF4-FFF2-40B4-BE49-F238E27FC236}">
                          <a16:creationId xmlns:a16="http://schemas.microsoft.com/office/drawing/2014/main" id="{57AEB569-6C32-A8B9-844D-81DF913759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669104" y="3787909"/>
                      <a:ext cx="171490" cy="2423384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/>
                    </a:p>
                  </p:txBody>
                </p:sp>
                <p:sp>
                  <p:nvSpPr>
                    <p:cNvPr id="135" name="직사각형 134">
                      <a:extLst>
                        <a:ext uri="{FF2B5EF4-FFF2-40B4-BE49-F238E27FC236}">
                          <a16:creationId xmlns:a16="http://schemas.microsoft.com/office/drawing/2014/main" id="{4012F565-E5AB-C582-2110-2CCFCC843B57}"/>
                        </a:ext>
                      </a:extLst>
                    </p:cNvPr>
                    <p:cNvSpPr/>
                    <p:nvPr/>
                  </p:nvSpPr>
                  <p:spPr>
                    <a:xfrm rot="1800000">
                      <a:off x="4609418" y="6436534"/>
                      <a:ext cx="1216098" cy="87102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 dirty="0"/>
                    </a:p>
                  </p:txBody>
                </p:sp>
                <p:sp>
                  <p:nvSpPr>
                    <p:cNvPr id="136" name="직사각형 135">
                      <a:extLst>
                        <a:ext uri="{FF2B5EF4-FFF2-40B4-BE49-F238E27FC236}">
                          <a16:creationId xmlns:a16="http://schemas.microsoft.com/office/drawing/2014/main" id="{FF374258-B3DB-37DE-0AFF-7BA02502CE91}"/>
                        </a:ext>
                      </a:extLst>
                    </p:cNvPr>
                    <p:cNvSpPr/>
                    <p:nvPr/>
                  </p:nvSpPr>
                  <p:spPr>
                    <a:xfrm rot="253021">
                      <a:off x="4597192" y="6194525"/>
                      <a:ext cx="167585" cy="1973679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 dirty="0"/>
                    </a:p>
                  </p:txBody>
                </p:sp>
              </p:grpSp>
              <p:grpSp>
                <p:nvGrpSpPr>
                  <p:cNvPr id="57" name="그룹 56">
                    <a:extLst>
                      <a:ext uri="{FF2B5EF4-FFF2-40B4-BE49-F238E27FC236}">
                        <a16:creationId xmlns:a16="http://schemas.microsoft.com/office/drawing/2014/main" id="{E963C521-91C5-E6D8-6B9B-BBCB4651A0B5}"/>
                      </a:ext>
                    </a:extLst>
                  </p:cNvPr>
                  <p:cNvGrpSpPr/>
                  <p:nvPr/>
                </p:nvGrpSpPr>
                <p:grpSpPr>
                  <a:xfrm>
                    <a:off x="10065175" y="2612052"/>
                    <a:ext cx="389384" cy="554537"/>
                    <a:chOff x="5108458" y="4720893"/>
                    <a:chExt cx="636241" cy="572232"/>
                  </a:xfrm>
                </p:grpSpPr>
                <p:grpSp>
                  <p:nvGrpSpPr>
                    <p:cNvPr id="130" name="그룹 129">
                      <a:extLst>
                        <a:ext uri="{FF2B5EF4-FFF2-40B4-BE49-F238E27FC236}">
                          <a16:creationId xmlns:a16="http://schemas.microsoft.com/office/drawing/2014/main" id="{E660110A-FCD8-B49C-B6A2-B71A8EB0D79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108458" y="4724945"/>
                      <a:ext cx="636241" cy="568180"/>
                      <a:chOff x="5109736" y="3501498"/>
                      <a:chExt cx="636241" cy="914400"/>
                    </a:xfrm>
                    <a:solidFill>
                      <a:schemeClr val="bg2">
                        <a:lumMod val="90000"/>
                      </a:schemeClr>
                    </a:solidFill>
                  </p:grpSpPr>
                  <p:sp>
                    <p:nvSpPr>
                      <p:cNvPr id="132" name="사각형: 둥근 모서리 131">
                        <a:extLst>
                          <a:ext uri="{FF2B5EF4-FFF2-40B4-BE49-F238E27FC236}">
                            <a16:creationId xmlns:a16="http://schemas.microsoft.com/office/drawing/2014/main" id="{D89FF8E0-D746-4F83-E293-DCB401E152C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109736" y="3501498"/>
                        <a:ext cx="634963" cy="914400"/>
                      </a:xfrm>
                      <a:prstGeom prst="roundRect">
                        <a:avLst/>
                      </a:prstGeom>
                      <a:grpFill/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ko-KR" altLang="en-US"/>
                      </a:p>
                    </p:txBody>
                  </p:sp>
                  <p:sp>
                    <p:nvSpPr>
                      <p:cNvPr id="133" name="직사각형 132">
                        <a:extLst>
                          <a:ext uri="{FF2B5EF4-FFF2-40B4-BE49-F238E27FC236}">
                            <a16:creationId xmlns:a16="http://schemas.microsoft.com/office/drawing/2014/main" id="{AA2AFFC0-B35F-4A84-FCAE-C8E37A55131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429997" y="4182260"/>
                        <a:ext cx="315980" cy="233638"/>
                      </a:xfrm>
                      <a:prstGeom prst="rect">
                        <a:avLst/>
                      </a:prstGeom>
                      <a:grpFill/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ko-KR" altLang="en-US"/>
                      </a:p>
                    </p:txBody>
                  </p:sp>
                </p:grpSp>
                <p:sp>
                  <p:nvSpPr>
                    <p:cNvPr id="131" name="직사각형 130">
                      <a:extLst>
                        <a:ext uri="{FF2B5EF4-FFF2-40B4-BE49-F238E27FC236}">
                          <a16:creationId xmlns:a16="http://schemas.microsoft.com/office/drawing/2014/main" id="{199211CA-2C3C-1E2C-9A35-F9FCF1A8C5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465672" y="4720893"/>
                      <a:ext cx="278388" cy="192372"/>
                    </a:xfrm>
                    <a:prstGeom prst="rect">
                      <a:avLst/>
                    </a:prstGeom>
                    <a:solidFill>
                      <a:schemeClr val="bg2">
                        <a:lumMod val="9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/>
                    </a:p>
                  </p:txBody>
                </p:sp>
              </p:grpSp>
              <p:grpSp>
                <p:nvGrpSpPr>
                  <p:cNvPr id="58" name="그룹 57">
                    <a:extLst>
                      <a:ext uri="{FF2B5EF4-FFF2-40B4-BE49-F238E27FC236}">
                        <a16:creationId xmlns:a16="http://schemas.microsoft.com/office/drawing/2014/main" id="{468D7A39-18A4-7A50-484A-86600FB9B179}"/>
                      </a:ext>
                    </a:extLst>
                  </p:cNvPr>
                  <p:cNvGrpSpPr/>
                  <p:nvPr/>
                </p:nvGrpSpPr>
                <p:grpSpPr>
                  <a:xfrm>
                    <a:off x="7894341" y="3918232"/>
                    <a:ext cx="461535" cy="855939"/>
                    <a:chOff x="3184481" y="5897993"/>
                    <a:chExt cx="461535" cy="883251"/>
                  </a:xfrm>
                </p:grpSpPr>
                <p:grpSp>
                  <p:nvGrpSpPr>
                    <p:cNvPr id="114" name="그룹 113">
                      <a:extLst>
                        <a:ext uri="{FF2B5EF4-FFF2-40B4-BE49-F238E27FC236}">
                          <a16:creationId xmlns:a16="http://schemas.microsoft.com/office/drawing/2014/main" id="{EA5CF06A-7013-D1F4-9B36-F293C65A6B94}"/>
                        </a:ext>
                      </a:extLst>
                    </p:cNvPr>
                    <p:cNvGrpSpPr/>
                    <p:nvPr/>
                  </p:nvGrpSpPr>
                  <p:grpSpPr>
                    <a:xfrm rot="9783876">
                      <a:off x="3256632" y="5897993"/>
                      <a:ext cx="389384" cy="572232"/>
                      <a:chOff x="5108458" y="4720893"/>
                      <a:chExt cx="636241" cy="572232"/>
                    </a:xfrm>
                  </p:grpSpPr>
                  <p:grpSp>
                    <p:nvGrpSpPr>
                      <p:cNvPr id="126" name="그룹 125">
                        <a:extLst>
                          <a:ext uri="{FF2B5EF4-FFF2-40B4-BE49-F238E27FC236}">
                            <a16:creationId xmlns:a16="http://schemas.microsoft.com/office/drawing/2014/main" id="{6CFF2B14-1B02-B971-5BB4-B7F866A072E0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108458" y="4724945"/>
                        <a:ext cx="636241" cy="568180"/>
                        <a:chOff x="5109736" y="3501498"/>
                        <a:chExt cx="636241" cy="914400"/>
                      </a:xfrm>
                      <a:solidFill>
                        <a:schemeClr val="bg2">
                          <a:lumMod val="90000"/>
                        </a:schemeClr>
                      </a:solidFill>
                    </p:grpSpPr>
                    <p:sp>
                      <p:nvSpPr>
                        <p:cNvPr id="128" name="사각형: 둥근 모서리 127">
                          <a:extLst>
                            <a:ext uri="{FF2B5EF4-FFF2-40B4-BE49-F238E27FC236}">
                              <a16:creationId xmlns:a16="http://schemas.microsoft.com/office/drawing/2014/main" id="{566DE845-D40B-9117-FBEF-AE2E5D8B7BF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109736" y="3501498"/>
                          <a:ext cx="634963" cy="914400"/>
                        </a:xfrm>
                        <a:prstGeom prst="roundRect">
                          <a:avLst/>
                        </a:prstGeom>
                        <a:grpFill/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ko-KR" altLang="en-US"/>
                        </a:p>
                      </p:txBody>
                    </p:sp>
                    <p:sp>
                      <p:nvSpPr>
                        <p:cNvPr id="129" name="직사각형 128">
                          <a:extLst>
                            <a:ext uri="{FF2B5EF4-FFF2-40B4-BE49-F238E27FC236}">
                              <a16:creationId xmlns:a16="http://schemas.microsoft.com/office/drawing/2014/main" id="{E679B28C-66CD-63B8-8FCB-6E836F1464E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429997" y="4182260"/>
                          <a:ext cx="315980" cy="233638"/>
                        </a:xfrm>
                        <a:prstGeom prst="rect">
                          <a:avLst/>
                        </a:prstGeom>
                        <a:grpFill/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ko-KR" altLang="en-US"/>
                        </a:p>
                      </p:txBody>
                    </p:sp>
                  </p:grpSp>
                  <p:sp>
                    <p:nvSpPr>
                      <p:cNvPr id="127" name="직사각형 126">
                        <a:extLst>
                          <a:ext uri="{FF2B5EF4-FFF2-40B4-BE49-F238E27FC236}">
                            <a16:creationId xmlns:a16="http://schemas.microsoft.com/office/drawing/2014/main" id="{BED1F54D-5BC0-5931-0F0A-08E882B784F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465672" y="4720893"/>
                        <a:ext cx="278388" cy="192372"/>
                      </a:xfrm>
                      <a:prstGeom prst="rect">
                        <a:avLst/>
                      </a:prstGeom>
                      <a:solidFill>
                        <a:schemeClr val="bg2">
                          <a:lumMod val="9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ko-KR" altLang="en-US"/>
                      </a:p>
                    </p:txBody>
                  </p:sp>
                </p:grpSp>
                <p:sp>
                  <p:nvSpPr>
                    <p:cNvPr id="115" name="사각형: 둥근 모서리 114">
                      <a:extLst>
                        <a:ext uri="{FF2B5EF4-FFF2-40B4-BE49-F238E27FC236}">
                          <a16:creationId xmlns:a16="http://schemas.microsoft.com/office/drawing/2014/main" id="{CD866720-A88A-C965-3DFD-E8A7D58A7B2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86408" y="5968813"/>
                      <a:ext cx="363150" cy="812431"/>
                    </a:xfrm>
                    <a:prstGeom prst="roundRect">
                      <a:avLst/>
                    </a:prstGeom>
                    <a:solidFill>
                      <a:schemeClr val="bg2">
                        <a:lumMod val="9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/>
                    </a:p>
                  </p:txBody>
                </p:sp>
                <p:grpSp>
                  <p:nvGrpSpPr>
                    <p:cNvPr id="116" name="그룹 115">
                      <a:extLst>
                        <a:ext uri="{FF2B5EF4-FFF2-40B4-BE49-F238E27FC236}">
                          <a16:creationId xmlns:a16="http://schemas.microsoft.com/office/drawing/2014/main" id="{9A1260BA-865C-6090-20EF-E4E619FD8553}"/>
                        </a:ext>
                      </a:extLst>
                    </p:cNvPr>
                    <p:cNvGrpSpPr/>
                    <p:nvPr/>
                  </p:nvGrpSpPr>
                  <p:grpSpPr>
                    <a:xfrm rot="10800000">
                      <a:off x="3184481" y="5980542"/>
                      <a:ext cx="255542" cy="354258"/>
                      <a:chOff x="5108458" y="4720893"/>
                      <a:chExt cx="636241" cy="572232"/>
                    </a:xfrm>
                  </p:grpSpPr>
                  <p:grpSp>
                    <p:nvGrpSpPr>
                      <p:cNvPr id="122" name="그룹 121">
                        <a:extLst>
                          <a:ext uri="{FF2B5EF4-FFF2-40B4-BE49-F238E27FC236}">
                            <a16:creationId xmlns:a16="http://schemas.microsoft.com/office/drawing/2014/main" id="{7B22E736-9E6A-32CF-AC62-AE0EDD482D30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108458" y="4724945"/>
                        <a:ext cx="636241" cy="568180"/>
                        <a:chOff x="5109736" y="3501498"/>
                        <a:chExt cx="636241" cy="914400"/>
                      </a:xfrm>
                      <a:solidFill>
                        <a:schemeClr val="bg2">
                          <a:lumMod val="90000"/>
                        </a:schemeClr>
                      </a:solidFill>
                    </p:grpSpPr>
                    <p:sp>
                      <p:nvSpPr>
                        <p:cNvPr id="124" name="사각형: 둥근 모서리 123">
                          <a:extLst>
                            <a:ext uri="{FF2B5EF4-FFF2-40B4-BE49-F238E27FC236}">
                              <a16:creationId xmlns:a16="http://schemas.microsoft.com/office/drawing/2014/main" id="{9BDFB514-F49F-4344-C1D4-9EA3362BCCD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109736" y="3501498"/>
                          <a:ext cx="634963" cy="914400"/>
                        </a:xfrm>
                        <a:prstGeom prst="roundRect">
                          <a:avLst/>
                        </a:prstGeom>
                        <a:grpFill/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ko-KR" altLang="en-US"/>
                        </a:p>
                      </p:txBody>
                    </p:sp>
                    <p:sp>
                      <p:nvSpPr>
                        <p:cNvPr id="125" name="직사각형 124">
                          <a:extLst>
                            <a:ext uri="{FF2B5EF4-FFF2-40B4-BE49-F238E27FC236}">
                              <a16:creationId xmlns:a16="http://schemas.microsoft.com/office/drawing/2014/main" id="{26146932-3064-486C-7617-0E875C752BB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429997" y="4182260"/>
                          <a:ext cx="315980" cy="233638"/>
                        </a:xfrm>
                        <a:prstGeom prst="rect">
                          <a:avLst/>
                        </a:prstGeom>
                        <a:grpFill/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ko-KR" altLang="en-US"/>
                        </a:p>
                      </p:txBody>
                    </p:sp>
                  </p:grpSp>
                  <p:sp>
                    <p:nvSpPr>
                      <p:cNvPr id="123" name="직사각형 122">
                        <a:extLst>
                          <a:ext uri="{FF2B5EF4-FFF2-40B4-BE49-F238E27FC236}">
                            <a16:creationId xmlns:a16="http://schemas.microsoft.com/office/drawing/2014/main" id="{C568EF56-77A5-CCF2-19C3-C8D1B9EA1C9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465672" y="4720893"/>
                        <a:ext cx="278388" cy="192372"/>
                      </a:xfrm>
                      <a:prstGeom prst="rect">
                        <a:avLst/>
                      </a:prstGeom>
                      <a:solidFill>
                        <a:schemeClr val="bg2">
                          <a:lumMod val="9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ko-KR" altLang="en-US"/>
                      </a:p>
                    </p:txBody>
                  </p:sp>
                </p:grpSp>
                <p:grpSp>
                  <p:nvGrpSpPr>
                    <p:cNvPr id="117" name="그룹 116">
                      <a:extLst>
                        <a:ext uri="{FF2B5EF4-FFF2-40B4-BE49-F238E27FC236}">
                          <a16:creationId xmlns:a16="http://schemas.microsoft.com/office/drawing/2014/main" id="{754BE605-B4C3-BAFF-F222-0224072EF670}"/>
                        </a:ext>
                      </a:extLst>
                    </p:cNvPr>
                    <p:cNvGrpSpPr/>
                    <p:nvPr/>
                  </p:nvGrpSpPr>
                  <p:grpSpPr>
                    <a:xfrm rot="10800000">
                      <a:off x="3184481" y="6426986"/>
                      <a:ext cx="255542" cy="354258"/>
                      <a:chOff x="5108458" y="4720893"/>
                      <a:chExt cx="636241" cy="572232"/>
                    </a:xfrm>
                  </p:grpSpPr>
                  <p:grpSp>
                    <p:nvGrpSpPr>
                      <p:cNvPr id="118" name="그룹 117">
                        <a:extLst>
                          <a:ext uri="{FF2B5EF4-FFF2-40B4-BE49-F238E27FC236}">
                            <a16:creationId xmlns:a16="http://schemas.microsoft.com/office/drawing/2014/main" id="{8EEBEEBB-EF9B-B74A-BCBB-943E1D460AAD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108458" y="4724945"/>
                        <a:ext cx="636241" cy="568180"/>
                        <a:chOff x="5109736" y="3501498"/>
                        <a:chExt cx="636241" cy="914400"/>
                      </a:xfrm>
                      <a:solidFill>
                        <a:schemeClr val="bg2">
                          <a:lumMod val="90000"/>
                        </a:schemeClr>
                      </a:solidFill>
                    </p:grpSpPr>
                    <p:sp>
                      <p:nvSpPr>
                        <p:cNvPr id="120" name="사각형: 둥근 모서리 119">
                          <a:extLst>
                            <a:ext uri="{FF2B5EF4-FFF2-40B4-BE49-F238E27FC236}">
                              <a16:creationId xmlns:a16="http://schemas.microsoft.com/office/drawing/2014/main" id="{684CC0CA-01F8-196A-033A-22479EB052B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109736" y="3501498"/>
                          <a:ext cx="634963" cy="914400"/>
                        </a:xfrm>
                        <a:prstGeom prst="roundRect">
                          <a:avLst/>
                        </a:prstGeom>
                        <a:grpFill/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ko-KR" altLang="en-US"/>
                        </a:p>
                      </p:txBody>
                    </p:sp>
                    <p:sp>
                      <p:nvSpPr>
                        <p:cNvPr id="121" name="직사각형 120">
                          <a:extLst>
                            <a:ext uri="{FF2B5EF4-FFF2-40B4-BE49-F238E27FC236}">
                              <a16:creationId xmlns:a16="http://schemas.microsoft.com/office/drawing/2014/main" id="{AB84007E-A822-E787-6AA1-442CE26B17A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429997" y="4182260"/>
                          <a:ext cx="315980" cy="233638"/>
                        </a:xfrm>
                        <a:prstGeom prst="rect">
                          <a:avLst/>
                        </a:prstGeom>
                        <a:grpFill/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ko-KR" altLang="en-US"/>
                        </a:p>
                      </p:txBody>
                    </p:sp>
                  </p:grpSp>
                  <p:sp>
                    <p:nvSpPr>
                      <p:cNvPr id="119" name="직사각형 118">
                        <a:extLst>
                          <a:ext uri="{FF2B5EF4-FFF2-40B4-BE49-F238E27FC236}">
                            <a16:creationId xmlns:a16="http://schemas.microsoft.com/office/drawing/2014/main" id="{B04402CC-9156-212D-A02B-19C449D0E0D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465672" y="4720893"/>
                        <a:ext cx="278388" cy="192372"/>
                      </a:xfrm>
                      <a:prstGeom prst="rect">
                        <a:avLst/>
                      </a:prstGeom>
                      <a:solidFill>
                        <a:schemeClr val="bg2">
                          <a:lumMod val="9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ko-KR" altLang="en-US"/>
                      </a:p>
                    </p:txBody>
                  </p:sp>
                </p:grpSp>
              </p:grpSp>
              <p:sp>
                <p:nvSpPr>
                  <p:cNvPr id="59" name="직사각형 58">
                    <a:extLst>
                      <a:ext uri="{FF2B5EF4-FFF2-40B4-BE49-F238E27FC236}">
                        <a16:creationId xmlns:a16="http://schemas.microsoft.com/office/drawing/2014/main" id="{D584A868-AAAF-B18D-1F5E-CC3DB0B50D6A}"/>
                      </a:ext>
                    </a:extLst>
                  </p:cNvPr>
                  <p:cNvSpPr/>
                  <p:nvPr/>
                </p:nvSpPr>
                <p:spPr>
                  <a:xfrm rot="18060212">
                    <a:off x="8609872" y="1958396"/>
                    <a:ext cx="169375" cy="1733591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  <p:grpSp>
                <p:nvGrpSpPr>
                  <p:cNvPr id="60" name="그룹 59">
                    <a:extLst>
                      <a:ext uri="{FF2B5EF4-FFF2-40B4-BE49-F238E27FC236}">
                        <a16:creationId xmlns:a16="http://schemas.microsoft.com/office/drawing/2014/main" id="{BC647F4B-116E-4D99-9088-DD552A026F37}"/>
                      </a:ext>
                    </a:extLst>
                  </p:cNvPr>
                  <p:cNvGrpSpPr/>
                  <p:nvPr/>
                </p:nvGrpSpPr>
                <p:grpSpPr>
                  <a:xfrm>
                    <a:off x="8431246" y="1873397"/>
                    <a:ext cx="514014" cy="4297049"/>
                    <a:chOff x="3721386" y="3787909"/>
                    <a:chExt cx="514014" cy="4434165"/>
                  </a:xfrm>
                  <a:solidFill>
                    <a:schemeClr val="bg1">
                      <a:lumMod val="50000"/>
                    </a:schemeClr>
                  </a:solidFill>
                </p:grpSpPr>
                <p:sp>
                  <p:nvSpPr>
                    <p:cNvPr id="111" name="직사각형 110">
                      <a:extLst>
                        <a:ext uri="{FF2B5EF4-FFF2-40B4-BE49-F238E27FC236}">
                          <a16:creationId xmlns:a16="http://schemas.microsoft.com/office/drawing/2014/main" id="{BE332042-B9C2-0CB3-FAC0-9DD74E62124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721386" y="3787909"/>
                      <a:ext cx="356583" cy="1668107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/>
                    </a:p>
                  </p:txBody>
                </p:sp>
                <p:sp>
                  <p:nvSpPr>
                    <p:cNvPr id="112" name="직사각형 111">
                      <a:extLst>
                        <a:ext uri="{FF2B5EF4-FFF2-40B4-BE49-F238E27FC236}">
                          <a16:creationId xmlns:a16="http://schemas.microsoft.com/office/drawing/2014/main" id="{CB4F9F58-B52A-C0F1-C12C-5CC8E9C04C2C}"/>
                        </a:ext>
                      </a:extLst>
                    </p:cNvPr>
                    <p:cNvSpPr/>
                    <p:nvPr/>
                  </p:nvSpPr>
                  <p:spPr>
                    <a:xfrm rot="719744">
                      <a:off x="3874688" y="6515598"/>
                      <a:ext cx="356559" cy="1706476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 dirty="0"/>
                    </a:p>
                  </p:txBody>
                </p:sp>
                <p:sp>
                  <p:nvSpPr>
                    <p:cNvPr id="113" name="직사각형 112">
                      <a:extLst>
                        <a:ext uri="{FF2B5EF4-FFF2-40B4-BE49-F238E27FC236}">
                          <a16:creationId xmlns:a16="http://schemas.microsoft.com/office/drawing/2014/main" id="{2F149007-5C37-F475-0B42-E02F5BB48D01}"/>
                        </a:ext>
                      </a:extLst>
                    </p:cNvPr>
                    <p:cNvSpPr/>
                    <p:nvPr/>
                  </p:nvSpPr>
                  <p:spPr>
                    <a:xfrm rot="20643514">
                      <a:off x="3890014" y="5369180"/>
                      <a:ext cx="345386" cy="1281099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/>
                    </a:p>
                  </p:txBody>
                </p:sp>
              </p:grpSp>
              <p:grpSp>
                <p:nvGrpSpPr>
                  <p:cNvPr id="61" name="그룹 60">
                    <a:extLst>
                      <a:ext uri="{FF2B5EF4-FFF2-40B4-BE49-F238E27FC236}">
                        <a16:creationId xmlns:a16="http://schemas.microsoft.com/office/drawing/2014/main" id="{B23FBAC1-446F-A19C-E56B-15034403EB7C}"/>
                      </a:ext>
                    </a:extLst>
                  </p:cNvPr>
                  <p:cNvGrpSpPr/>
                  <p:nvPr/>
                </p:nvGrpSpPr>
                <p:grpSpPr>
                  <a:xfrm>
                    <a:off x="8128454" y="5068459"/>
                    <a:ext cx="2099901" cy="750862"/>
                    <a:chOff x="3418594" y="7084923"/>
                    <a:chExt cx="2099901" cy="774821"/>
                  </a:xfrm>
                </p:grpSpPr>
                <p:sp>
                  <p:nvSpPr>
                    <p:cNvPr id="68" name="Rectangle: Rounded Corners 158">
                      <a:extLst>
                        <a:ext uri="{FF2B5EF4-FFF2-40B4-BE49-F238E27FC236}">
                          <a16:creationId xmlns:a16="http://schemas.microsoft.com/office/drawing/2014/main" id="{52866EC3-4F07-6E59-7C97-8B61C247AC7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418594" y="7084923"/>
                      <a:ext cx="2099901" cy="774821"/>
                    </a:xfrm>
                    <a:prstGeom prst="roundRect">
                      <a:avLst>
                        <a:gd name="adj" fmla="val 7098"/>
                      </a:avLst>
                    </a:prstGeom>
                    <a:solidFill>
                      <a:schemeClr val="bg1"/>
                    </a:solidFill>
                    <a:ln>
                      <a:noFill/>
                    </a:ln>
                    <a:effectLst>
                      <a:outerShdw blurRad="50800" dist="38100" dir="5400000" algn="t" rotWithShape="0">
                        <a:srgbClr val="7983D7">
                          <a:alpha val="40000"/>
                        </a:srgb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  <p:sp>
                  <p:nvSpPr>
                    <p:cNvPr id="96" name="Oval 161">
                      <a:extLst>
                        <a:ext uri="{FF2B5EF4-FFF2-40B4-BE49-F238E27FC236}">
                          <a16:creationId xmlns:a16="http://schemas.microsoft.com/office/drawing/2014/main" id="{1FCB567B-9A0E-6EFF-6511-080CB7E79DB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497583" y="7167845"/>
                      <a:ext cx="180023" cy="180023"/>
                    </a:xfrm>
                    <a:prstGeom prst="ellipse">
                      <a:avLst/>
                    </a:prstGeom>
                    <a:gradFill>
                      <a:gsLst>
                        <a:gs pos="100000">
                          <a:srgbClr val="4757B8"/>
                        </a:gs>
                        <a:gs pos="38000">
                          <a:srgbClr val="7983D7"/>
                        </a:gs>
                      </a:gsLst>
                      <a:lin ang="8100000" scaled="1"/>
                    </a:gra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  <p:sp>
                  <p:nvSpPr>
                    <p:cNvPr id="97" name="십자형 96">
                      <a:extLst>
                        <a:ext uri="{FF2B5EF4-FFF2-40B4-BE49-F238E27FC236}">
                          <a16:creationId xmlns:a16="http://schemas.microsoft.com/office/drawing/2014/main" id="{1EDF2B9A-5505-397E-F715-0B1F1181934D}"/>
                        </a:ext>
                      </a:extLst>
                    </p:cNvPr>
                    <p:cNvSpPr/>
                    <p:nvPr/>
                  </p:nvSpPr>
                  <p:spPr>
                    <a:xfrm rot="18900000" flipH="1">
                      <a:off x="3537809" y="7212767"/>
                      <a:ext cx="99569" cy="99569"/>
                    </a:xfrm>
                    <a:prstGeom prst="plus">
                      <a:avLst>
                        <a:gd name="adj" fmla="val 44823"/>
                      </a:avLst>
                    </a:prstGeom>
                    <a:solidFill>
                      <a:schemeClr val="bg1"/>
                    </a:solidFill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/>
                    </a:p>
                  </p:txBody>
                </p:sp>
                <p:sp>
                  <p:nvSpPr>
                    <p:cNvPr id="98" name="타원 97">
                      <a:extLst>
                        <a:ext uri="{FF2B5EF4-FFF2-40B4-BE49-F238E27FC236}">
                          <a16:creationId xmlns:a16="http://schemas.microsoft.com/office/drawing/2014/main" id="{4C5CAD24-AA1C-4FDA-773A-845A7E8D6A4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993894" y="7167845"/>
                      <a:ext cx="180023" cy="180023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>
                      <a:solidFill>
                        <a:srgbClr val="7983D7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/>
                    </a:p>
                  </p:txBody>
                </p:sp>
                <p:sp>
                  <p:nvSpPr>
                    <p:cNvPr id="101" name="타원 100">
                      <a:extLst>
                        <a:ext uri="{FF2B5EF4-FFF2-40B4-BE49-F238E27FC236}">
                          <a16:creationId xmlns:a16="http://schemas.microsoft.com/office/drawing/2014/main" id="{F2D44E33-E110-384F-78E4-D65A019BD4E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57388" y="7167845"/>
                      <a:ext cx="180023" cy="180023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>
                      <a:solidFill>
                        <a:srgbClr val="7983D7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/>
                    </a:p>
                  </p:txBody>
                </p:sp>
                <p:sp>
                  <p:nvSpPr>
                    <p:cNvPr id="102" name="별: 꼭짓점 5개 101">
                      <a:extLst>
                        <a:ext uri="{FF2B5EF4-FFF2-40B4-BE49-F238E27FC236}">
                          <a16:creationId xmlns:a16="http://schemas.microsoft.com/office/drawing/2014/main" id="{1A6A6B5E-2FB8-714D-FDCA-3E3D422E1F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98608" y="7209065"/>
                      <a:ext cx="97581" cy="97581"/>
                    </a:xfrm>
                    <a:prstGeom prst="star5">
                      <a:avLst>
                        <a:gd name="adj" fmla="val 22577"/>
                        <a:gd name="hf" fmla="val 105146"/>
                        <a:gd name="vf" fmla="val 110557"/>
                      </a:avLst>
                    </a:prstGeom>
                    <a:solidFill>
                      <a:srgbClr val="7983D7"/>
                    </a:solidFill>
                    <a:ln>
                      <a:solidFill>
                        <a:srgbClr val="7983D7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/>
                    </a:p>
                  </p:txBody>
                </p:sp>
                <p:grpSp>
                  <p:nvGrpSpPr>
                    <p:cNvPr id="103" name="그룹 102">
                      <a:extLst>
                        <a:ext uri="{FF2B5EF4-FFF2-40B4-BE49-F238E27FC236}">
                          <a16:creationId xmlns:a16="http://schemas.microsoft.com/office/drawing/2014/main" id="{9D5038D2-1AAA-29B9-9D64-2CED3B2A269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035195" y="7206046"/>
                      <a:ext cx="97419" cy="104758"/>
                      <a:chOff x="5041922" y="7209065"/>
                      <a:chExt cx="97419" cy="104758"/>
                    </a:xfrm>
                  </p:grpSpPr>
                  <p:sp>
                    <p:nvSpPr>
                      <p:cNvPr id="104" name="타원 103">
                        <a:extLst>
                          <a:ext uri="{FF2B5EF4-FFF2-40B4-BE49-F238E27FC236}">
                            <a16:creationId xmlns:a16="http://schemas.microsoft.com/office/drawing/2014/main" id="{90D08DFB-2C94-1AEE-B706-4A5A3916947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058571" y="7209065"/>
                        <a:ext cx="80770" cy="80770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>
                        <a:solidFill>
                          <a:srgbClr val="7983D7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ko-KR" altLang="en-US"/>
                      </a:p>
                    </p:txBody>
                  </p:sp>
                  <p:grpSp>
                    <p:nvGrpSpPr>
                      <p:cNvPr id="105" name="그룹 104">
                        <a:extLst>
                          <a:ext uri="{FF2B5EF4-FFF2-40B4-BE49-F238E27FC236}">
                            <a16:creationId xmlns:a16="http://schemas.microsoft.com/office/drawing/2014/main" id="{2AFC1534-7C1E-7F92-A56F-DFC0C479EAA3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041922" y="7280733"/>
                        <a:ext cx="25169" cy="28552"/>
                        <a:chOff x="6005517" y="7469542"/>
                        <a:chExt cx="25169" cy="28552"/>
                      </a:xfrm>
                    </p:grpSpPr>
                    <p:cxnSp>
                      <p:nvCxnSpPr>
                        <p:cNvPr id="109" name="직선 연결선 108">
                          <a:extLst>
                            <a:ext uri="{FF2B5EF4-FFF2-40B4-BE49-F238E27FC236}">
                              <a16:creationId xmlns:a16="http://schemas.microsoft.com/office/drawing/2014/main" id="{B9DECC47-4CAA-AFA3-7660-24CFE432DB10}"/>
                            </a:ext>
                          </a:extLst>
                        </p:cNvPr>
                        <p:cNvCxnSpPr>
                          <a:cxnSpLocks/>
                        </p:cNvCxnSpPr>
                        <p:nvPr/>
                      </p:nvCxnSpPr>
                      <p:spPr>
                        <a:xfrm flipH="1">
                          <a:off x="6005517" y="7470019"/>
                          <a:ext cx="25169" cy="28075"/>
                        </a:xfrm>
                        <a:prstGeom prst="line">
                          <a:avLst/>
                        </a:prstGeom>
                        <a:ln>
                          <a:solidFill>
                            <a:srgbClr val="7983D7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10" name="직선 연결선 109">
                          <a:extLst>
                            <a:ext uri="{FF2B5EF4-FFF2-40B4-BE49-F238E27FC236}">
                              <a16:creationId xmlns:a16="http://schemas.microsoft.com/office/drawing/2014/main" id="{A9DCCD24-6ECD-ECAF-2488-767F2A2162ED}"/>
                            </a:ext>
                          </a:extLst>
                        </p:cNvPr>
                        <p:cNvCxnSpPr>
                          <a:cxnSpLocks/>
                        </p:cNvCxnSpPr>
                        <p:nvPr/>
                      </p:nvCxnSpPr>
                      <p:spPr>
                        <a:xfrm flipH="1">
                          <a:off x="6005517" y="7469542"/>
                          <a:ext cx="25169" cy="28075"/>
                        </a:xfrm>
                        <a:prstGeom prst="line">
                          <a:avLst/>
                        </a:prstGeom>
                        <a:ln>
                          <a:solidFill>
                            <a:srgbClr val="7983D7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  <p:grpSp>
                    <p:nvGrpSpPr>
                      <p:cNvPr id="106" name="그룹 105">
                        <a:extLst>
                          <a:ext uri="{FF2B5EF4-FFF2-40B4-BE49-F238E27FC236}">
                            <a16:creationId xmlns:a16="http://schemas.microsoft.com/office/drawing/2014/main" id="{91A33F8A-1DF5-0D26-0D5C-C03DD08F313B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045221" y="7285271"/>
                        <a:ext cx="25169" cy="28552"/>
                        <a:chOff x="6005517" y="7469542"/>
                        <a:chExt cx="25169" cy="28552"/>
                      </a:xfrm>
                    </p:grpSpPr>
                    <p:cxnSp>
                      <p:nvCxnSpPr>
                        <p:cNvPr id="107" name="직선 연결선 106">
                          <a:extLst>
                            <a:ext uri="{FF2B5EF4-FFF2-40B4-BE49-F238E27FC236}">
                              <a16:creationId xmlns:a16="http://schemas.microsoft.com/office/drawing/2014/main" id="{B8741656-1B9F-7BA2-FC42-A8E9DA1ACFD1}"/>
                            </a:ext>
                          </a:extLst>
                        </p:cNvPr>
                        <p:cNvCxnSpPr>
                          <a:cxnSpLocks/>
                        </p:cNvCxnSpPr>
                        <p:nvPr/>
                      </p:nvCxnSpPr>
                      <p:spPr>
                        <a:xfrm flipH="1">
                          <a:off x="6005517" y="7470019"/>
                          <a:ext cx="25169" cy="28075"/>
                        </a:xfrm>
                        <a:prstGeom prst="line">
                          <a:avLst/>
                        </a:prstGeom>
                        <a:ln>
                          <a:solidFill>
                            <a:srgbClr val="7983D7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08" name="직선 연결선 107">
                          <a:extLst>
                            <a:ext uri="{FF2B5EF4-FFF2-40B4-BE49-F238E27FC236}">
                              <a16:creationId xmlns:a16="http://schemas.microsoft.com/office/drawing/2014/main" id="{7B555E4D-63BB-3FBD-8E19-427CB16D0C07}"/>
                            </a:ext>
                          </a:extLst>
                        </p:cNvPr>
                        <p:cNvCxnSpPr>
                          <a:cxnSpLocks/>
                        </p:cNvCxnSpPr>
                        <p:nvPr/>
                      </p:nvCxnSpPr>
                      <p:spPr>
                        <a:xfrm flipH="1">
                          <a:off x="6005517" y="7469542"/>
                          <a:ext cx="25169" cy="28075"/>
                        </a:xfrm>
                        <a:prstGeom prst="line">
                          <a:avLst/>
                        </a:prstGeom>
                        <a:ln>
                          <a:solidFill>
                            <a:srgbClr val="7983D7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</p:grpSp>
              <p:sp>
                <p:nvSpPr>
                  <p:cNvPr id="62" name="직사각형 61">
                    <a:extLst>
                      <a:ext uri="{FF2B5EF4-FFF2-40B4-BE49-F238E27FC236}">
                        <a16:creationId xmlns:a16="http://schemas.microsoft.com/office/drawing/2014/main" id="{F30BEB66-B035-AD6A-D6E5-86DC0D2584DA}"/>
                      </a:ext>
                    </a:extLst>
                  </p:cNvPr>
                  <p:cNvSpPr/>
                  <p:nvPr/>
                </p:nvSpPr>
                <p:spPr>
                  <a:xfrm rot="16200000">
                    <a:off x="7898191" y="2350850"/>
                    <a:ext cx="118102" cy="128019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  <p:sp>
                <p:nvSpPr>
                  <p:cNvPr id="63" name="직사각형 62">
                    <a:extLst>
                      <a:ext uri="{FF2B5EF4-FFF2-40B4-BE49-F238E27FC236}">
                        <a16:creationId xmlns:a16="http://schemas.microsoft.com/office/drawing/2014/main" id="{2DE05194-5584-6985-2C6F-104C5F096D8E}"/>
                      </a:ext>
                    </a:extLst>
                  </p:cNvPr>
                  <p:cNvSpPr/>
                  <p:nvPr/>
                </p:nvSpPr>
                <p:spPr>
                  <a:xfrm rot="16200000">
                    <a:off x="7918044" y="2295888"/>
                    <a:ext cx="56904" cy="104987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  <p:cxnSp>
                <p:nvCxnSpPr>
                  <p:cNvPr id="64" name="직선 연결선 118">
                    <a:extLst>
                      <a:ext uri="{FF2B5EF4-FFF2-40B4-BE49-F238E27FC236}">
                        <a16:creationId xmlns:a16="http://schemas.microsoft.com/office/drawing/2014/main" id="{849C3C7B-73B4-1137-0D91-00828384CD49}"/>
                      </a:ext>
                    </a:extLst>
                  </p:cNvPr>
                  <p:cNvCxnSpPr>
                    <a:cxnSpLocks/>
                    <a:stCxn id="134" idx="0"/>
                    <a:endCxn id="136" idx="0"/>
                  </p:cNvCxnSpPr>
                  <p:nvPr/>
                </p:nvCxnSpPr>
                <p:spPr>
                  <a:xfrm flipH="1">
                    <a:off x="9463412" y="1873397"/>
                    <a:ext cx="1297" cy="2334787"/>
                  </a:xfrm>
                  <a:prstGeom prst="straightConnector1">
                    <a:avLst/>
                  </a:prstGeom>
                  <a:ln w="57150">
                    <a:solidFill>
                      <a:srgbClr val="7983D7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66" name="타원 65">
                    <a:extLst>
                      <a:ext uri="{FF2B5EF4-FFF2-40B4-BE49-F238E27FC236}">
                        <a16:creationId xmlns:a16="http://schemas.microsoft.com/office/drawing/2014/main" id="{747FD8CD-09DB-9BC3-91A1-BD3287B70E02}"/>
                      </a:ext>
                    </a:extLst>
                  </p:cNvPr>
                  <p:cNvSpPr/>
                  <p:nvPr/>
                </p:nvSpPr>
                <p:spPr>
                  <a:xfrm flipH="1" flipV="1">
                    <a:off x="9401844" y="4194834"/>
                    <a:ext cx="109838" cy="106442"/>
                  </a:xfrm>
                  <a:prstGeom prst="ellipse">
                    <a:avLst/>
                  </a:prstGeom>
                  <a:solidFill>
                    <a:schemeClr val="bg1"/>
                  </a:solidFill>
                  <a:ln w="28575">
                    <a:solidFill>
                      <a:srgbClr val="7983D7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  <p:pic>
                <p:nvPicPr>
                  <p:cNvPr id="67" name="Picture 147">
                    <a:extLst>
                      <a:ext uri="{FF2B5EF4-FFF2-40B4-BE49-F238E27FC236}">
                        <a16:creationId xmlns:a16="http://schemas.microsoft.com/office/drawing/2014/main" id="{79511A09-BE38-E8DA-8159-42AF521F9F8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200685" y="686597"/>
                    <a:ext cx="3931651" cy="5764687"/>
                  </a:xfrm>
                  <a:prstGeom prst="rect">
                    <a:avLst/>
                  </a:prstGeom>
                </p:spPr>
              </p:pic>
              <p:grpSp>
                <p:nvGrpSpPr>
                  <p:cNvPr id="3141" name="그룹 3140">
                    <a:extLst>
                      <a:ext uri="{FF2B5EF4-FFF2-40B4-BE49-F238E27FC236}">
                        <a16:creationId xmlns:a16="http://schemas.microsoft.com/office/drawing/2014/main" id="{3E62F7D3-5A82-4AA6-C63A-AB1878FF6934}"/>
                      </a:ext>
                    </a:extLst>
                  </p:cNvPr>
                  <p:cNvGrpSpPr/>
                  <p:nvPr/>
                </p:nvGrpSpPr>
                <p:grpSpPr>
                  <a:xfrm>
                    <a:off x="9872750" y="1935763"/>
                    <a:ext cx="505955" cy="507256"/>
                    <a:chOff x="4845544" y="3894428"/>
                    <a:chExt cx="528438" cy="529791"/>
                  </a:xfrm>
                </p:grpSpPr>
                <p:sp>
                  <p:nvSpPr>
                    <p:cNvPr id="3139" name="Oval 19">
                      <a:extLst>
                        <a:ext uri="{FF2B5EF4-FFF2-40B4-BE49-F238E27FC236}">
                          <a16:creationId xmlns:a16="http://schemas.microsoft.com/office/drawing/2014/main" id="{EAA95840-7626-05E6-0824-AF8D3D137BE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846042" y="3898970"/>
                      <a:ext cx="525249" cy="525249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1600" dirty="0"/>
                    </a:p>
                  </p:txBody>
                </p:sp>
                <p:pic>
                  <p:nvPicPr>
                    <p:cNvPr id="3140" name="Picture 28" descr="Walk Icon 4820465">
                      <a:extLst>
                        <a:ext uri="{FF2B5EF4-FFF2-40B4-BE49-F238E27FC236}">
                          <a16:creationId xmlns:a16="http://schemas.microsoft.com/office/drawing/2014/main" id="{98111C5B-8987-82E4-48AE-AEE18F7E1666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7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4845544" y="3894428"/>
                      <a:ext cx="528438" cy="528438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</p:grpSp>
              <p:sp>
                <p:nvSpPr>
                  <p:cNvPr id="3149" name="Oval 19">
                    <a:extLst>
                      <a:ext uri="{FF2B5EF4-FFF2-40B4-BE49-F238E27FC236}">
                        <a16:creationId xmlns:a16="http://schemas.microsoft.com/office/drawing/2014/main" id="{CD610429-01E8-1C7D-7B4F-F6FEF6653EE8}"/>
                      </a:ext>
                    </a:extLst>
                  </p:cNvPr>
                  <p:cNvSpPr/>
                  <p:nvPr/>
                </p:nvSpPr>
                <p:spPr>
                  <a:xfrm>
                    <a:off x="8165138" y="1101264"/>
                    <a:ext cx="502901" cy="502908"/>
                  </a:xfrm>
                  <a:prstGeom prst="ellipse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600"/>
                  </a:p>
                </p:txBody>
              </p:sp>
              <p:pic>
                <p:nvPicPr>
                  <p:cNvPr id="3157" name="Picture 36" descr="Exit Icon 2346455">
                    <a:extLst>
                      <a:ext uri="{FF2B5EF4-FFF2-40B4-BE49-F238E27FC236}">
                        <a16:creationId xmlns:a16="http://schemas.microsoft.com/office/drawing/2014/main" id="{F8272B4A-1DFD-07DD-250A-0B8CFA4D9191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9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8108878" y="1038392"/>
                    <a:ext cx="633650" cy="63365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3161" name="Oval 19">
                    <a:extLst>
                      <a:ext uri="{FF2B5EF4-FFF2-40B4-BE49-F238E27FC236}">
                        <a16:creationId xmlns:a16="http://schemas.microsoft.com/office/drawing/2014/main" id="{673A5954-50DD-245E-C26A-EF105EE1735C}"/>
                      </a:ext>
                    </a:extLst>
                  </p:cNvPr>
                  <p:cNvSpPr/>
                  <p:nvPr/>
                </p:nvSpPr>
                <p:spPr>
                  <a:xfrm>
                    <a:off x="9870866" y="2527468"/>
                    <a:ext cx="502901" cy="502908"/>
                  </a:xfrm>
                  <a:prstGeom prst="ellipse">
                    <a:avLst/>
                  </a:prstGeom>
                  <a:solidFill>
                    <a:srgbClr val="92D05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600"/>
                  </a:p>
                </p:txBody>
              </p:sp>
              <p:pic>
                <p:nvPicPr>
                  <p:cNvPr id="3163" name="Picture 32" descr="sleep Icon 1449218">
                    <a:extLst>
                      <a:ext uri="{FF2B5EF4-FFF2-40B4-BE49-F238E27FC236}">
                        <a16:creationId xmlns:a16="http://schemas.microsoft.com/office/drawing/2014/main" id="{30CDDD49-F7CE-4113-6BDB-A9CB2CE617D8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8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9804655" y="2434346"/>
                    <a:ext cx="611094" cy="611094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</p:grpSp>
          <p:grpSp>
            <p:nvGrpSpPr>
              <p:cNvPr id="3187" name="그룹 3186">
                <a:extLst>
                  <a:ext uri="{FF2B5EF4-FFF2-40B4-BE49-F238E27FC236}">
                    <a16:creationId xmlns:a16="http://schemas.microsoft.com/office/drawing/2014/main" id="{9AE7C68F-E0C3-5B1C-3051-CF253B121314}"/>
                  </a:ext>
                </a:extLst>
              </p:cNvPr>
              <p:cNvGrpSpPr/>
              <p:nvPr/>
            </p:nvGrpSpPr>
            <p:grpSpPr>
              <a:xfrm>
                <a:off x="1461736" y="670358"/>
                <a:ext cx="759060" cy="759060"/>
                <a:chOff x="1908093" y="1860058"/>
                <a:chExt cx="759060" cy="759060"/>
              </a:xfrm>
            </p:grpSpPr>
            <p:sp>
              <p:nvSpPr>
                <p:cNvPr id="3184" name="Oval 71">
                  <a:extLst>
                    <a:ext uri="{FF2B5EF4-FFF2-40B4-BE49-F238E27FC236}">
                      <a16:creationId xmlns:a16="http://schemas.microsoft.com/office/drawing/2014/main" id="{6FDFA322-9BBC-C9D0-6082-8E53E771CA04}"/>
                    </a:ext>
                  </a:extLst>
                </p:cNvPr>
                <p:cNvSpPr/>
                <p:nvPr/>
              </p:nvSpPr>
              <p:spPr>
                <a:xfrm>
                  <a:off x="1908093" y="1860058"/>
                  <a:ext cx="759060" cy="759060"/>
                </a:xfrm>
                <a:prstGeom prst="ellipse">
                  <a:avLst/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 w="1016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3185" name="Freeform: Shape 72">
                  <a:extLst>
                    <a:ext uri="{FF2B5EF4-FFF2-40B4-BE49-F238E27FC236}">
                      <a16:creationId xmlns:a16="http://schemas.microsoft.com/office/drawing/2014/main" id="{0E35F26D-07C7-C8DC-6E62-9181EFDDBEEF}"/>
                    </a:ext>
                  </a:extLst>
                </p:cNvPr>
                <p:cNvSpPr/>
                <p:nvPr/>
              </p:nvSpPr>
              <p:spPr>
                <a:xfrm>
                  <a:off x="2021828" y="1988200"/>
                  <a:ext cx="597318" cy="595073"/>
                </a:xfrm>
                <a:custGeom>
                  <a:avLst/>
                  <a:gdLst>
                    <a:gd name="connsiteX0" fmla="*/ 484825 w 540615"/>
                    <a:gd name="connsiteY0" fmla="*/ 0 h 538583"/>
                    <a:gd name="connsiteX1" fmla="*/ 487027 w 540615"/>
                    <a:gd name="connsiteY1" fmla="*/ 1817 h 538583"/>
                    <a:gd name="connsiteX2" fmla="*/ 528971 w 540615"/>
                    <a:gd name="connsiteY2" fmla="*/ 52654 h 538583"/>
                    <a:gd name="connsiteX3" fmla="*/ 540615 w 540615"/>
                    <a:gd name="connsiteY3" fmla="*/ 74106 h 538583"/>
                    <a:gd name="connsiteX4" fmla="*/ 540615 w 540615"/>
                    <a:gd name="connsiteY4" fmla="*/ 415313 h 538583"/>
                    <a:gd name="connsiteX5" fmla="*/ 528971 w 540615"/>
                    <a:gd name="connsiteY5" fmla="*/ 436765 h 538583"/>
                    <a:gd name="connsiteX6" fmla="*/ 436189 w 540615"/>
                    <a:gd name="connsiteY6" fmla="*/ 529547 h 538583"/>
                    <a:gd name="connsiteX7" fmla="*/ 419540 w 540615"/>
                    <a:gd name="connsiteY7" fmla="*/ 538583 h 538583"/>
                    <a:gd name="connsiteX8" fmla="*/ 68728 w 540615"/>
                    <a:gd name="connsiteY8" fmla="*/ 538583 h 538583"/>
                    <a:gd name="connsiteX9" fmla="*/ 52079 w 540615"/>
                    <a:gd name="connsiteY9" fmla="*/ 529547 h 538583"/>
                    <a:gd name="connsiteX10" fmla="*/ 1241 w 540615"/>
                    <a:gd name="connsiteY10" fmla="*/ 487602 h 538583"/>
                    <a:gd name="connsiteX11" fmla="*/ 0 w 540615"/>
                    <a:gd name="connsiteY11" fmla="*/ 486098 h 5385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540615" h="538583">
                      <a:moveTo>
                        <a:pt x="484825" y="0"/>
                      </a:moveTo>
                      <a:lnTo>
                        <a:pt x="487027" y="1817"/>
                      </a:lnTo>
                      <a:cubicBezTo>
                        <a:pt x="502567" y="17357"/>
                        <a:pt x="516625" y="34379"/>
                        <a:pt x="528971" y="52654"/>
                      </a:cubicBezTo>
                      <a:lnTo>
                        <a:pt x="540615" y="74106"/>
                      </a:lnTo>
                      <a:lnTo>
                        <a:pt x="540615" y="415313"/>
                      </a:lnTo>
                      <a:lnTo>
                        <a:pt x="528971" y="436765"/>
                      </a:lnTo>
                      <a:cubicBezTo>
                        <a:pt x="504279" y="473313"/>
                        <a:pt x="472738" y="504855"/>
                        <a:pt x="436189" y="529547"/>
                      </a:cubicBezTo>
                      <a:lnTo>
                        <a:pt x="419540" y="538583"/>
                      </a:lnTo>
                      <a:lnTo>
                        <a:pt x="68728" y="538583"/>
                      </a:lnTo>
                      <a:lnTo>
                        <a:pt x="52079" y="529547"/>
                      </a:lnTo>
                      <a:cubicBezTo>
                        <a:pt x="33804" y="517201"/>
                        <a:pt x="16782" y="503142"/>
                        <a:pt x="1241" y="487602"/>
                      </a:cubicBezTo>
                      <a:lnTo>
                        <a:pt x="0" y="486098"/>
                      </a:lnTo>
                      <a:close/>
                    </a:path>
                  </a:pathLst>
                </a:custGeom>
                <a:solidFill>
                  <a:schemeClr val="bg1">
                    <a:alpha val="2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3186" name="Picture 40" descr="voice Icon 2376392">
                  <a:extLst>
                    <a:ext uri="{FF2B5EF4-FFF2-40B4-BE49-F238E27FC236}">
                      <a16:creationId xmlns:a16="http://schemas.microsoft.com/office/drawing/2014/main" id="{FAF8B2B4-0AA4-D6EA-1E8E-11259396435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973890" y="1903901"/>
                  <a:ext cx="665706" cy="66570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cxnSp>
            <p:nvCxnSpPr>
              <p:cNvPr id="3189" name="직선 연결선 3188">
                <a:extLst>
                  <a:ext uri="{FF2B5EF4-FFF2-40B4-BE49-F238E27FC236}">
                    <a16:creationId xmlns:a16="http://schemas.microsoft.com/office/drawing/2014/main" id="{69B00398-AEFC-5396-BB04-254DBDA7854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41266" y="1469577"/>
                <a:ext cx="0" cy="1030986"/>
              </a:xfrm>
              <a:prstGeom prst="line">
                <a:avLst/>
              </a:prstGeom>
              <a:ln>
                <a:solidFill>
                  <a:srgbClr val="2F2F3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93" name="Oval 19">
                <a:extLst>
                  <a:ext uri="{FF2B5EF4-FFF2-40B4-BE49-F238E27FC236}">
                    <a16:creationId xmlns:a16="http://schemas.microsoft.com/office/drawing/2014/main" id="{829269A8-2156-65B4-389D-07F0A603DAB8}"/>
                  </a:ext>
                </a:extLst>
              </p:cNvPr>
              <p:cNvSpPr/>
              <p:nvPr/>
            </p:nvSpPr>
            <p:spPr>
              <a:xfrm>
                <a:off x="8809270" y="5551246"/>
                <a:ext cx="423515" cy="412533"/>
              </a:xfrm>
              <a:prstGeom prst="ellipse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pic>
            <p:nvPicPr>
              <p:cNvPr id="3194" name="Picture 40" descr="voice Icon 2376392">
                <a:extLst>
                  <a:ext uri="{FF2B5EF4-FFF2-40B4-BE49-F238E27FC236}">
                    <a16:creationId xmlns:a16="http://schemas.microsoft.com/office/drawing/2014/main" id="{441C9AA1-95C2-00AE-6D74-BE95E9D3E81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809270" y="5540036"/>
                <a:ext cx="434952" cy="43495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195" name="Rectangle 79">
                <a:extLst>
                  <a:ext uri="{FF2B5EF4-FFF2-40B4-BE49-F238E27FC236}">
                    <a16:creationId xmlns:a16="http://schemas.microsoft.com/office/drawing/2014/main" id="{DC715077-D63D-B3B3-DDC7-313377C2A954}"/>
                  </a:ext>
                </a:extLst>
              </p:cNvPr>
              <p:cNvSpPr/>
              <p:nvPr/>
            </p:nvSpPr>
            <p:spPr>
              <a:xfrm>
                <a:off x="1979306" y="1534737"/>
                <a:ext cx="2112532" cy="707912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ko-KR" altLang="en-US" sz="1600" dirty="0">
                    <a:solidFill>
                      <a:srgbClr val="505050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음성 메시지</a:t>
                </a:r>
                <a:r>
                  <a:rPr lang="en-US" altLang="ko-KR" sz="1600" dirty="0">
                    <a:solidFill>
                      <a:srgbClr val="505050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,      </a:t>
                </a:r>
                <a:r>
                  <a:rPr lang="ko-KR" altLang="en-US" sz="1600" dirty="0">
                    <a:solidFill>
                      <a:srgbClr val="505050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텍스트 </a:t>
                </a:r>
                <a:r>
                  <a:rPr lang="ko-KR" altLang="en-US" sz="1600" b="0" i="0" dirty="0">
                    <a:solidFill>
                      <a:srgbClr val="505050"/>
                    </a:solidFill>
                    <a:effectLst/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음성 변환 기능</a:t>
                </a:r>
                <a:endParaRPr lang="en-US" sz="1500" b="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3196" name="Rectangle 79">
                <a:extLst>
                  <a:ext uri="{FF2B5EF4-FFF2-40B4-BE49-F238E27FC236}">
                    <a16:creationId xmlns:a16="http://schemas.microsoft.com/office/drawing/2014/main" id="{C9A4CFDA-5DE8-EBB8-40F4-67C7888D2D47}"/>
                  </a:ext>
                </a:extLst>
              </p:cNvPr>
              <p:cNvSpPr/>
              <p:nvPr/>
            </p:nvSpPr>
            <p:spPr>
              <a:xfrm>
                <a:off x="7065124" y="5602559"/>
                <a:ext cx="1285581" cy="502604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ko-KR" altLang="en-US" sz="1600" b="0" i="0" dirty="0">
                    <a:solidFill>
                      <a:srgbClr val="7983D7"/>
                    </a:solidFill>
                    <a:effectLst/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앞으로 </a:t>
                </a:r>
                <a:r>
                  <a:rPr lang="en-US" altLang="ko-KR" sz="1600" b="0" i="0" dirty="0">
                    <a:solidFill>
                      <a:srgbClr val="7983D7"/>
                    </a:solidFill>
                    <a:effectLst/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3</a:t>
                </a:r>
                <a:r>
                  <a:rPr lang="ko-KR" altLang="en-US" sz="1600" b="0" i="0" dirty="0">
                    <a:solidFill>
                      <a:srgbClr val="7983D7"/>
                    </a:solidFill>
                    <a:effectLst/>
                    <a:latin typeface="HY견고딕" panose="02030600000101010101" pitchFamily="18" charset="-127"/>
                    <a:ea typeface="HY견고딕" panose="02030600000101010101" pitchFamily="18" charset="-127"/>
                  </a:rPr>
                  <a:t>분 </a:t>
                </a:r>
                <a:endParaRPr lang="en-US" sz="1500" b="0" i="0" dirty="0">
                  <a:solidFill>
                    <a:srgbClr val="7983D7"/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E450A5B9-89D5-8FBD-5575-2579B2EE0083}"/>
                </a:ext>
              </a:extLst>
            </p:cNvPr>
            <p:cNvSpPr txBox="1"/>
            <p:nvPr/>
          </p:nvSpPr>
          <p:spPr>
            <a:xfrm>
              <a:off x="4692690" y="5367874"/>
              <a:ext cx="212551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600" dirty="0">
                  <a:solidFill>
                    <a:srgbClr val="404040"/>
                  </a:solidFill>
                  <a:latin typeface="HY견고딕" panose="02030600000101010101" pitchFamily="18" charset="-127"/>
                  <a:ea typeface="HY견고딕" panose="02030600000101010101" pitchFamily="18" charset="-127"/>
                </a:rPr>
                <a:t>알람이 울리면 동시에 모든 정보들이 업로드</a:t>
              </a:r>
            </a:p>
          </p:txBody>
        </p:sp>
        <p:sp>
          <p:nvSpPr>
            <p:cNvPr id="5" name="Oval 19">
              <a:extLst>
                <a:ext uri="{FF2B5EF4-FFF2-40B4-BE49-F238E27FC236}">
                  <a16:creationId xmlns:a16="http://schemas.microsoft.com/office/drawing/2014/main" id="{34B19AD8-4312-1AFF-0FD0-9434CDCF83E6}"/>
                </a:ext>
              </a:extLst>
            </p:cNvPr>
            <p:cNvSpPr/>
            <p:nvPr/>
          </p:nvSpPr>
          <p:spPr>
            <a:xfrm>
              <a:off x="9099196" y="3233894"/>
              <a:ext cx="565567" cy="550899"/>
            </a:xfrm>
            <a:prstGeom prst="ellipse">
              <a:avLst/>
            </a:prstGeom>
            <a:solidFill>
              <a:srgbClr val="9970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pic>
          <p:nvPicPr>
            <p:cNvPr id="7" name="그림 6">
              <a:extLst>
                <a:ext uri="{FF2B5EF4-FFF2-40B4-BE49-F238E27FC236}">
                  <a16:creationId xmlns:a16="http://schemas.microsoft.com/office/drawing/2014/main" id="{D8DE9747-B1E8-8732-635F-BB94DC53FC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86494" y="3317749"/>
              <a:ext cx="405470" cy="405470"/>
            </a:xfrm>
            <a:prstGeom prst="rect">
              <a:avLst/>
            </a:prstGeom>
          </p:spPr>
        </p:pic>
        <p:grpSp>
          <p:nvGrpSpPr>
            <p:cNvPr id="16" name="그룹 15">
              <a:extLst>
                <a:ext uri="{FF2B5EF4-FFF2-40B4-BE49-F238E27FC236}">
                  <a16:creationId xmlns:a16="http://schemas.microsoft.com/office/drawing/2014/main" id="{3060EFDF-3F56-5530-D0EF-BBED2481096A}"/>
                </a:ext>
              </a:extLst>
            </p:cNvPr>
            <p:cNvGrpSpPr/>
            <p:nvPr/>
          </p:nvGrpSpPr>
          <p:grpSpPr>
            <a:xfrm>
              <a:off x="4110656" y="4644783"/>
              <a:ext cx="759060" cy="759060"/>
              <a:chOff x="1669549" y="5012915"/>
              <a:chExt cx="759060" cy="759060"/>
            </a:xfrm>
          </p:grpSpPr>
          <p:grpSp>
            <p:nvGrpSpPr>
              <p:cNvPr id="12" name="그룹 11">
                <a:extLst>
                  <a:ext uri="{FF2B5EF4-FFF2-40B4-BE49-F238E27FC236}">
                    <a16:creationId xmlns:a16="http://schemas.microsoft.com/office/drawing/2014/main" id="{AA984E27-A458-A63F-19BD-99A1CAC2AF39}"/>
                  </a:ext>
                </a:extLst>
              </p:cNvPr>
              <p:cNvGrpSpPr/>
              <p:nvPr/>
            </p:nvGrpSpPr>
            <p:grpSpPr>
              <a:xfrm>
                <a:off x="1669549" y="5012915"/>
                <a:ext cx="759060" cy="759060"/>
                <a:chOff x="1620181" y="4978856"/>
                <a:chExt cx="759060" cy="759060"/>
              </a:xfrm>
            </p:grpSpPr>
            <p:sp>
              <p:nvSpPr>
                <p:cNvPr id="8" name="Oval 71">
                  <a:extLst>
                    <a:ext uri="{FF2B5EF4-FFF2-40B4-BE49-F238E27FC236}">
                      <a16:creationId xmlns:a16="http://schemas.microsoft.com/office/drawing/2014/main" id="{94915359-840A-673F-E365-A0A019B4D603}"/>
                    </a:ext>
                  </a:extLst>
                </p:cNvPr>
                <p:cNvSpPr/>
                <p:nvPr/>
              </p:nvSpPr>
              <p:spPr>
                <a:xfrm>
                  <a:off x="1620181" y="4978856"/>
                  <a:ext cx="759060" cy="759060"/>
                </a:xfrm>
                <a:prstGeom prst="ellipse">
                  <a:avLst/>
                </a:prstGeom>
                <a:solidFill>
                  <a:srgbClr val="9970EA"/>
                </a:solidFill>
                <a:ln w="1016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1" name="Freeform: Shape 72">
                  <a:extLst>
                    <a:ext uri="{FF2B5EF4-FFF2-40B4-BE49-F238E27FC236}">
                      <a16:creationId xmlns:a16="http://schemas.microsoft.com/office/drawing/2014/main" id="{E2E85E74-6BC7-B01B-56DD-EA527A571EAB}"/>
                    </a:ext>
                  </a:extLst>
                </p:cNvPr>
                <p:cNvSpPr/>
                <p:nvPr/>
              </p:nvSpPr>
              <p:spPr>
                <a:xfrm>
                  <a:off x="1735346" y="5101831"/>
                  <a:ext cx="597318" cy="595073"/>
                </a:xfrm>
                <a:custGeom>
                  <a:avLst/>
                  <a:gdLst>
                    <a:gd name="connsiteX0" fmla="*/ 484825 w 540615"/>
                    <a:gd name="connsiteY0" fmla="*/ 0 h 538583"/>
                    <a:gd name="connsiteX1" fmla="*/ 487027 w 540615"/>
                    <a:gd name="connsiteY1" fmla="*/ 1817 h 538583"/>
                    <a:gd name="connsiteX2" fmla="*/ 528971 w 540615"/>
                    <a:gd name="connsiteY2" fmla="*/ 52654 h 538583"/>
                    <a:gd name="connsiteX3" fmla="*/ 540615 w 540615"/>
                    <a:gd name="connsiteY3" fmla="*/ 74106 h 538583"/>
                    <a:gd name="connsiteX4" fmla="*/ 540615 w 540615"/>
                    <a:gd name="connsiteY4" fmla="*/ 415313 h 538583"/>
                    <a:gd name="connsiteX5" fmla="*/ 528971 w 540615"/>
                    <a:gd name="connsiteY5" fmla="*/ 436765 h 538583"/>
                    <a:gd name="connsiteX6" fmla="*/ 436189 w 540615"/>
                    <a:gd name="connsiteY6" fmla="*/ 529547 h 538583"/>
                    <a:gd name="connsiteX7" fmla="*/ 419540 w 540615"/>
                    <a:gd name="connsiteY7" fmla="*/ 538583 h 538583"/>
                    <a:gd name="connsiteX8" fmla="*/ 68728 w 540615"/>
                    <a:gd name="connsiteY8" fmla="*/ 538583 h 538583"/>
                    <a:gd name="connsiteX9" fmla="*/ 52079 w 540615"/>
                    <a:gd name="connsiteY9" fmla="*/ 529547 h 538583"/>
                    <a:gd name="connsiteX10" fmla="*/ 1241 w 540615"/>
                    <a:gd name="connsiteY10" fmla="*/ 487602 h 538583"/>
                    <a:gd name="connsiteX11" fmla="*/ 0 w 540615"/>
                    <a:gd name="connsiteY11" fmla="*/ 486098 h 5385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540615" h="538583">
                      <a:moveTo>
                        <a:pt x="484825" y="0"/>
                      </a:moveTo>
                      <a:lnTo>
                        <a:pt x="487027" y="1817"/>
                      </a:lnTo>
                      <a:cubicBezTo>
                        <a:pt x="502567" y="17357"/>
                        <a:pt x="516625" y="34379"/>
                        <a:pt x="528971" y="52654"/>
                      </a:cubicBezTo>
                      <a:lnTo>
                        <a:pt x="540615" y="74106"/>
                      </a:lnTo>
                      <a:lnTo>
                        <a:pt x="540615" y="415313"/>
                      </a:lnTo>
                      <a:lnTo>
                        <a:pt x="528971" y="436765"/>
                      </a:lnTo>
                      <a:cubicBezTo>
                        <a:pt x="504279" y="473313"/>
                        <a:pt x="472738" y="504855"/>
                        <a:pt x="436189" y="529547"/>
                      </a:cubicBezTo>
                      <a:lnTo>
                        <a:pt x="419540" y="538583"/>
                      </a:lnTo>
                      <a:lnTo>
                        <a:pt x="68728" y="538583"/>
                      </a:lnTo>
                      <a:lnTo>
                        <a:pt x="52079" y="529547"/>
                      </a:lnTo>
                      <a:cubicBezTo>
                        <a:pt x="33804" y="517201"/>
                        <a:pt x="16782" y="503142"/>
                        <a:pt x="1241" y="487602"/>
                      </a:cubicBezTo>
                      <a:lnTo>
                        <a:pt x="0" y="486098"/>
                      </a:lnTo>
                      <a:close/>
                    </a:path>
                  </a:pathLst>
                </a:custGeom>
                <a:solidFill>
                  <a:schemeClr val="bg1">
                    <a:alpha val="2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  <p:pic>
            <p:nvPicPr>
              <p:cNvPr id="13" name="그림 12">
                <a:extLst>
                  <a:ext uri="{FF2B5EF4-FFF2-40B4-BE49-F238E27FC236}">
                    <a16:creationId xmlns:a16="http://schemas.microsoft.com/office/drawing/2014/main" id="{DBCA42A4-36C7-3655-E545-B4CAEDCEEB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46344" y="5201143"/>
                <a:ext cx="405470" cy="405470"/>
              </a:xfrm>
              <a:prstGeom prst="rect">
                <a:avLst/>
              </a:prstGeom>
            </p:spPr>
          </p:pic>
        </p:grpSp>
        <p:cxnSp>
          <p:nvCxnSpPr>
            <p:cNvPr id="14" name="직선 연결선 13">
              <a:extLst>
                <a:ext uri="{FF2B5EF4-FFF2-40B4-BE49-F238E27FC236}">
                  <a16:creationId xmlns:a16="http://schemas.microsoft.com/office/drawing/2014/main" id="{287F29D6-DB86-720C-EDA5-905BEBFDD611}"/>
                </a:ext>
              </a:extLst>
            </p:cNvPr>
            <p:cNvCxnSpPr>
              <a:cxnSpLocks/>
            </p:cNvCxnSpPr>
            <p:nvPr/>
          </p:nvCxnSpPr>
          <p:spPr>
            <a:xfrm>
              <a:off x="4487976" y="5403843"/>
              <a:ext cx="0" cy="1030986"/>
            </a:xfrm>
            <a:prstGeom prst="line">
              <a:avLst/>
            </a:prstGeom>
            <a:ln>
              <a:solidFill>
                <a:srgbClr val="2F2F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직선 연결선 30">
              <a:extLst>
                <a:ext uri="{FF2B5EF4-FFF2-40B4-BE49-F238E27FC236}">
                  <a16:creationId xmlns:a16="http://schemas.microsoft.com/office/drawing/2014/main" id="{EA824CFF-DF66-5309-1E06-E08127C12DBF}"/>
                </a:ext>
              </a:extLst>
            </p:cNvPr>
            <p:cNvCxnSpPr>
              <a:cxnSpLocks/>
            </p:cNvCxnSpPr>
            <p:nvPr/>
          </p:nvCxnSpPr>
          <p:spPr>
            <a:xfrm>
              <a:off x="2049079" y="3634732"/>
              <a:ext cx="7392" cy="959669"/>
            </a:xfrm>
            <a:prstGeom prst="line">
              <a:avLst/>
            </a:prstGeom>
            <a:ln>
              <a:solidFill>
                <a:srgbClr val="2F2F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027620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67" name="그룹 4166">
            <a:extLst>
              <a:ext uri="{FF2B5EF4-FFF2-40B4-BE49-F238E27FC236}">
                <a16:creationId xmlns:a16="http://schemas.microsoft.com/office/drawing/2014/main" id="{334AD394-4B40-7C03-9261-4FAE03F68438}"/>
              </a:ext>
            </a:extLst>
          </p:cNvPr>
          <p:cNvGrpSpPr/>
          <p:nvPr/>
        </p:nvGrpSpPr>
        <p:grpSpPr>
          <a:xfrm>
            <a:off x="3787755" y="1425701"/>
            <a:ext cx="4452025" cy="4452025"/>
            <a:chOff x="4254576" y="1774131"/>
            <a:chExt cx="3682848" cy="3682848"/>
          </a:xfrm>
        </p:grpSpPr>
        <p:pic>
          <p:nvPicPr>
            <p:cNvPr id="39" name="Picture 38" descr="A picture containing food, coffee&#10;&#10;Description automatically generated">
              <a:extLst>
                <a:ext uri="{FF2B5EF4-FFF2-40B4-BE49-F238E27FC236}">
                  <a16:creationId xmlns:a16="http://schemas.microsoft.com/office/drawing/2014/main" id="{FC6A5658-46EE-4A8D-A62C-4E13114416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54576" y="1774131"/>
              <a:ext cx="3682848" cy="3682848"/>
            </a:xfrm>
            <a:custGeom>
              <a:avLst/>
              <a:gdLst>
                <a:gd name="connsiteX0" fmla="*/ 1841424 w 3682848"/>
                <a:gd name="connsiteY0" fmla="*/ 0 h 3682848"/>
                <a:gd name="connsiteX1" fmla="*/ 3682848 w 3682848"/>
                <a:gd name="connsiteY1" fmla="*/ 1841424 h 3682848"/>
                <a:gd name="connsiteX2" fmla="*/ 1841424 w 3682848"/>
                <a:gd name="connsiteY2" fmla="*/ 3682848 h 3682848"/>
                <a:gd name="connsiteX3" fmla="*/ 0 w 3682848"/>
                <a:gd name="connsiteY3" fmla="*/ 1841424 h 3682848"/>
                <a:gd name="connsiteX4" fmla="*/ 1841424 w 3682848"/>
                <a:gd name="connsiteY4" fmla="*/ 0 h 3682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2848" h="3682848">
                  <a:moveTo>
                    <a:pt x="1841424" y="0"/>
                  </a:moveTo>
                  <a:cubicBezTo>
                    <a:pt x="2858414" y="0"/>
                    <a:pt x="3682848" y="824434"/>
                    <a:pt x="3682848" y="1841424"/>
                  </a:cubicBezTo>
                  <a:cubicBezTo>
                    <a:pt x="3682848" y="2858414"/>
                    <a:pt x="2858414" y="3682848"/>
                    <a:pt x="1841424" y="3682848"/>
                  </a:cubicBezTo>
                  <a:cubicBezTo>
                    <a:pt x="824434" y="3682848"/>
                    <a:pt x="0" y="2858414"/>
                    <a:pt x="0" y="1841424"/>
                  </a:cubicBezTo>
                  <a:cubicBezTo>
                    <a:pt x="0" y="824434"/>
                    <a:pt x="824434" y="0"/>
                    <a:pt x="1841424" y="0"/>
                  </a:cubicBezTo>
                  <a:close/>
                </a:path>
              </a:pathLst>
            </a:custGeom>
          </p:spPr>
        </p:pic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62EA186F-20AC-4351-AF59-54EEC9C10374}"/>
                </a:ext>
              </a:extLst>
            </p:cNvPr>
            <p:cNvSpPr/>
            <p:nvPr/>
          </p:nvSpPr>
          <p:spPr>
            <a:xfrm>
              <a:off x="4254576" y="1774131"/>
              <a:ext cx="3682848" cy="3682848"/>
            </a:xfrm>
            <a:prstGeom prst="ellipse">
              <a:avLst/>
            </a:prstGeom>
            <a:gradFill flip="none" rotWithShape="1">
              <a:gsLst>
                <a:gs pos="0">
                  <a:srgbClr val="2F2F37">
                    <a:alpha val="90000"/>
                  </a:srgbClr>
                </a:gs>
                <a:gs pos="94000">
                  <a:srgbClr val="1E1E24">
                    <a:alpha val="85000"/>
                  </a:srgbClr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4169" name="Group 73">
            <a:extLst>
              <a:ext uri="{FF2B5EF4-FFF2-40B4-BE49-F238E27FC236}">
                <a16:creationId xmlns:a16="http://schemas.microsoft.com/office/drawing/2014/main" id="{B49FA3BB-7B84-5C30-A850-27595FC3DF03}"/>
              </a:ext>
            </a:extLst>
          </p:cNvPr>
          <p:cNvGrpSpPr/>
          <p:nvPr/>
        </p:nvGrpSpPr>
        <p:grpSpPr>
          <a:xfrm>
            <a:off x="3492371" y="3181954"/>
            <a:ext cx="809580" cy="797986"/>
            <a:chOff x="727006" y="3940974"/>
            <a:chExt cx="696984" cy="687003"/>
          </a:xfrm>
        </p:grpSpPr>
        <p:sp>
          <p:nvSpPr>
            <p:cNvPr id="4171" name="Oval 74">
              <a:extLst>
                <a:ext uri="{FF2B5EF4-FFF2-40B4-BE49-F238E27FC236}">
                  <a16:creationId xmlns:a16="http://schemas.microsoft.com/office/drawing/2014/main" id="{CD672526-688B-C02E-F509-890DECD9AFD7}"/>
                </a:ext>
              </a:extLst>
            </p:cNvPr>
            <p:cNvSpPr/>
            <p:nvPr/>
          </p:nvSpPr>
          <p:spPr>
            <a:xfrm>
              <a:off x="727006" y="3940974"/>
              <a:ext cx="687003" cy="687003"/>
            </a:xfrm>
            <a:prstGeom prst="ellipse">
              <a:avLst/>
            </a:prstGeom>
            <a:solidFill>
              <a:srgbClr val="C00000"/>
            </a:solidFill>
            <a:ln w="1016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72" name="Freeform: Shape 75">
              <a:extLst>
                <a:ext uri="{FF2B5EF4-FFF2-40B4-BE49-F238E27FC236}">
                  <a16:creationId xmlns:a16="http://schemas.microsoft.com/office/drawing/2014/main" id="{33E76BE6-59F4-F23B-8EFA-44A95802F9F4}"/>
                </a:ext>
              </a:extLst>
            </p:cNvPr>
            <p:cNvSpPr/>
            <p:nvPr/>
          </p:nvSpPr>
          <p:spPr>
            <a:xfrm>
              <a:off x="883375" y="4039767"/>
              <a:ext cx="540615" cy="538583"/>
            </a:xfrm>
            <a:custGeom>
              <a:avLst/>
              <a:gdLst>
                <a:gd name="connsiteX0" fmla="*/ 484825 w 540615"/>
                <a:gd name="connsiteY0" fmla="*/ 0 h 538583"/>
                <a:gd name="connsiteX1" fmla="*/ 487027 w 540615"/>
                <a:gd name="connsiteY1" fmla="*/ 1817 h 538583"/>
                <a:gd name="connsiteX2" fmla="*/ 528971 w 540615"/>
                <a:gd name="connsiteY2" fmla="*/ 52654 h 538583"/>
                <a:gd name="connsiteX3" fmla="*/ 540615 w 540615"/>
                <a:gd name="connsiteY3" fmla="*/ 74106 h 538583"/>
                <a:gd name="connsiteX4" fmla="*/ 540615 w 540615"/>
                <a:gd name="connsiteY4" fmla="*/ 415313 h 538583"/>
                <a:gd name="connsiteX5" fmla="*/ 528971 w 540615"/>
                <a:gd name="connsiteY5" fmla="*/ 436765 h 538583"/>
                <a:gd name="connsiteX6" fmla="*/ 436189 w 540615"/>
                <a:gd name="connsiteY6" fmla="*/ 529547 h 538583"/>
                <a:gd name="connsiteX7" fmla="*/ 419540 w 540615"/>
                <a:gd name="connsiteY7" fmla="*/ 538583 h 538583"/>
                <a:gd name="connsiteX8" fmla="*/ 68728 w 540615"/>
                <a:gd name="connsiteY8" fmla="*/ 538583 h 538583"/>
                <a:gd name="connsiteX9" fmla="*/ 52079 w 540615"/>
                <a:gd name="connsiteY9" fmla="*/ 529547 h 538583"/>
                <a:gd name="connsiteX10" fmla="*/ 1241 w 540615"/>
                <a:gd name="connsiteY10" fmla="*/ 487602 h 538583"/>
                <a:gd name="connsiteX11" fmla="*/ 0 w 540615"/>
                <a:gd name="connsiteY11" fmla="*/ 486098 h 538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0615" h="538583">
                  <a:moveTo>
                    <a:pt x="484825" y="0"/>
                  </a:moveTo>
                  <a:lnTo>
                    <a:pt x="487027" y="1817"/>
                  </a:lnTo>
                  <a:cubicBezTo>
                    <a:pt x="502567" y="17357"/>
                    <a:pt x="516625" y="34379"/>
                    <a:pt x="528971" y="52654"/>
                  </a:cubicBezTo>
                  <a:lnTo>
                    <a:pt x="540615" y="74106"/>
                  </a:lnTo>
                  <a:lnTo>
                    <a:pt x="540615" y="415313"/>
                  </a:lnTo>
                  <a:lnTo>
                    <a:pt x="528971" y="436765"/>
                  </a:lnTo>
                  <a:cubicBezTo>
                    <a:pt x="504279" y="473313"/>
                    <a:pt x="472738" y="504855"/>
                    <a:pt x="436189" y="529547"/>
                  </a:cubicBezTo>
                  <a:lnTo>
                    <a:pt x="419540" y="538583"/>
                  </a:lnTo>
                  <a:lnTo>
                    <a:pt x="68728" y="538583"/>
                  </a:lnTo>
                  <a:lnTo>
                    <a:pt x="52079" y="529547"/>
                  </a:lnTo>
                  <a:cubicBezTo>
                    <a:pt x="33804" y="517201"/>
                    <a:pt x="16782" y="503142"/>
                    <a:pt x="1241" y="487602"/>
                  </a:cubicBezTo>
                  <a:lnTo>
                    <a:pt x="0" y="486098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2769FF-DB25-43E1-AD03-62486412D8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7283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2769FF-DB25-43E1-AD03-62486412D8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3">
            <a:extLst>
              <a:ext uri="{FF2B5EF4-FFF2-40B4-BE49-F238E27FC236}">
                <a16:creationId xmlns:a16="http://schemas.microsoft.com/office/drawing/2014/main" id="{999AC18C-E849-4954-B5A6-7A53854424B1}"/>
              </a:ext>
            </a:extLst>
          </p:cNvPr>
          <p:cNvSpPr txBox="1">
            <a:spLocks/>
          </p:cNvSpPr>
          <p:nvPr/>
        </p:nvSpPr>
        <p:spPr>
          <a:xfrm>
            <a:off x="309813" y="482596"/>
            <a:ext cx="1013471" cy="8186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o-KR" altLang="en-US" sz="3600" dirty="0">
                <a:solidFill>
                  <a:schemeClr val="tx1">
                    <a:lumMod val="75000"/>
                    <a:lumOff val="25000"/>
                  </a:schemeClr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기능</a:t>
            </a:r>
            <a:endParaRPr lang="en-US" sz="3600" dirty="0">
              <a:solidFill>
                <a:schemeClr val="tx1">
                  <a:lumMod val="75000"/>
                  <a:lumOff val="25000"/>
                </a:schemeClr>
              </a:solidFill>
              <a:latin typeface="HY견고딕" panose="02030600000101010101" pitchFamily="18" charset="-127"/>
              <a:ea typeface="HY견고딕" panose="02030600000101010101" pitchFamily="18" charset="-127"/>
              <a:cs typeface="Segoe UI" panose="020B0502040204020203" pitchFamily="34" charset="0"/>
            </a:endParaRP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F71ADC0-FE61-4610-9025-F3A0E21F5246}"/>
              </a:ext>
            </a:extLst>
          </p:cNvPr>
          <p:cNvCxnSpPr>
            <a:cxnSpLocks/>
          </p:cNvCxnSpPr>
          <p:nvPr/>
        </p:nvCxnSpPr>
        <p:spPr>
          <a:xfrm>
            <a:off x="8269786" y="3604569"/>
            <a:ext cx="328721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70DDA4B1-7F24-4F94-A19E-05A9C7EB3533}"/>
              </a:ext>
            </a:extLst>
          </p:cNvPr>
          <p:cNvSpPr/>
          <p:nvPr/>
        </p:nvSpPr>
        <p:spPr>
          <a:xfrm>
            <a:off x="8754417" y="2437808"/>
            <a:ext cx="3341972" cy="80264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ko-KR" altLang="en-US" sz="20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 대중교통 혼잡도 표시</a:t>
            </a:r>
            <a:endParaRPr lang="en-US" altLang="ko-KR" sz="2000" b="0" i="0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HY견고딕" panose="02030600000101010101" pitchFamily="18" charset="-127"/>
              <a:ea typeface="HY견고딕" panose="02030600000101010101" pitchFamily="18" charset="-127"/>
              <a:cs typeface="Segoe UI" panose="020B0502040204020203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E31AD305-0FFF-4385-9368-5600A3234B38}"/>
              </a:ext>
            </a:extLst>
          </p:cNvPr>
          <p:cNvSpPr/>
          <p:nvPr/>
        </p:nvSpPr>
        <p:spPr>
          <a:xfrm>
            <a:off x="8789803" y="3922358"/>
            <a:ext cx="3341972" cy="80264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ko-KR" altLang="en-US" dirty="0">
                <a:solidFill>
                  <a:srgbClr val="505050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알람 설정 시 </a:t>
            </a:r>
            <a:r>
              <a:rPr lang="ko-KR" altLang="en-US" dirty="0" err="1">
                <a:solidFill>
                  <a:srgbClr val="505050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하차역</a:t>
            </a:r>
            <a:r>
              <a:rPr lang="ko-KR" altLang="en-US" dirty="0">
                <a:solidFill>
                  <a:srgbClr val="505050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 이전역에서 알람이 울리는 기능</a:t>
            </a:r>
            <a:endParaRPr lang="en-US" altLang="ko-KR" b="0" i="0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HY견고딕" panose="02030600000101010101" pitchFamily="18" charset="-127"/>
              <a:ea typeface="HY견고딕" panose="02030600000101010101" pitchFamily="18" charset="-127"/>
              <a:cs typeface="Segoe UI" panose="020B0502040204020203" pitchFamily="34" charset="0"/>
            </a:endParaRPr>
          </a:p>
        </p:txBody>
      </p:sp>
      <p:grpSp>
        <p:nvGrpSpPr>
          <p:cNvPr id="4125" name="그룹 4124">
            <a:extLst>
              <a:ext uri="{FF2B5EF4-FFF2-40B4-BE49-F238E27FC236}">
                <a16:creationId xmlns:a16="http://schemas.microsoft.com/office/drawing/2014/main" id="{DD7D73CE-A1DB-057B-4C46-A5978DC065B5}"/>
              </a:ext>
            </a:extLst>
          </p:cNvPr>
          <p:cNvGrpSpPr/>
          <p:nvPr/>
        </p:nvGrpSpPr>
        <p:grpSpPr>
          <a:xfrm>
            <a:off x="7878104" y="2455445"/>
            <a:ext cx="809580" cy="797986"/>
            <a:chOff x="4133443" y="2169556"/>
            <a:chExt cx="633622" cy="624548"/>
          </a:xfrm>
        </p:grpSpPr>
        <p:grpSp>
          <p:nvGrpSpPr>
            <p:cNvPr id="4127" name="Group 73">
              <a:extLst>
                <a:ext uri="{FF2B5EF4-FFF2-40B4-BE49-F238E27FC236}">
                  <a16:creationId xmlns:a16="http://schemas.microsoft.com/office/drawing/2014/main" id="{51BBC9C3-D8E5-AE54-6696-E56BCC3C9268}"/>
                </a:ext>
              </a:extLst>
            </p:cNvPr>
            <p:cNvGrpSpPr/>
            <p:nvPr/>
          </p:nvGrpSpPr>
          <p:grpSpPr>
            <a:xfrm>
              <a:off x="4133443" y="2169556"/>
              <a:ext cx="633622" cy="624548"/>
              <a:chOff x="727006" y="3940974"/>
              <a:chExt cx="696984" cy="687003"/>
            </a:xfrm>
          </p:grpSpPr>
          <p:sp>
            <p:nvSpPr>
              <p:cNvPr id="4129" name="Oval 74">
                <a:extLst>
                  <a:ext uri="{FF2B5EF4-FFF2-40B4-BE49-F238E27FC236}">
                    <a16:creationId xmlns:a16="http://schemas.microsoft.com/office/drawing/2014/main" id="{7D635D64-3944-C352-3CCA-ECD7B686F259}"/>
                  </a:ext>
                </a:extLst>
              </p:cNvPr>
              <p:cNvSpPr/>
              <p:nvPr/>
            </p:nvSpPr>
            <p:spPr>
              <a:xfrm>
                <a:off x="727006" y="3940974"/>
                <a:ext cx="687003" cy="687003"/>
              </a:xfrm>
              <a:prstGeom prst="ellipse">
                <a:avLst/>
              </a:prstGeom>
              <a:solidFill>
                <a:srgbClr val="FFC000"/>
              </a:solidFill>
              <a:ln w="1016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30" name="Freeform: Shape 75">
                <a:extLst>
                  <a:ext uri="{FF2B5EF4-FFF2-40B4-BE49-F238E27FC236}">
                    <a16:creationId xmlns:a16="http://schemas.microsoft.com/office/drawing/2014/main" id="{67160982-E2A7-C34F-1C82-57E4512AA12A}"/>
                  </a:ext>
                </a:extLst>
              </p:cNvPr>
              <p:cNvSpPr/>
              <p:nvPr/>
            </p:nvSpPr>
            <p:spPr>
              <a:xfrm>
                <a:off x="883375" y="4039767"/>
                <a:ext cx="540615" cy="538583"/>
              </a:xfrm>
              <a:custGeom>
                <a:avLst/>
                <a:gdLst>
                  <a:gd name="connsiteX0" fmla="*/ 484825 w 540615"/>
                  <a:gd name="connsiteY0" fmla="*/ 0 h 538583"/>
                  <a:gd name="connsiteX1" fmla="*/ 487027 w 540615"/>
                  <a:gd name="connsiteY1" fmla="*/ 1817 h 538583"/>
                  <a:gd name="connsiteX2" fmla="*/ 528971 w 540615"/>
                  <a:gd name="connsiteY2" fmla="*/ 52654 h 538583"/>
                  <a:gd name="connsiteX3" fmla="*/ 540615 w 540615"/>
                  <a:gd name="connsiteY3" fmla="*/ 74106 h 538583"/>
                  <a:gd name="connsiteX4" fmla="*/ 540615 w 540615"/>
                  <a:gd name="connsiteY4" fmla="*/ 415313 h 538583"/>
                  <a:gd name="connsiteX5" fmla="*/ 528971 w 540615"/>
                  <a:gd name="connsiteY5" fmla="*/ 436765 h 538583"/>
                  <a:gd name="connsiteX6" fmla="*/ 436189 w 540615"/>
                  <a:gd name="connsiteY6" fmla="*/ 529547 h 538583"/>
                  <a:gd name="connsiteX7" fmla="*/ 419540 w 540615"/>
                  <a:gd name="connsiteY7" fmla="*/ 538583 h 538583"/>
                  <a:gd name="connsiteX8" fmla="*/ 68728 w 540615"/>
                  <a:gd name="connsiteY8" fmla="*/ 538583 h 538583"/>
                  <a:gd name="connsiteX9" fmla="*/ 52079 w 540615"/>
                  <a:gd name="connsiteY9" fmla="*/ 529547 h 538583"/>
                  <a:gd name="connsiteX10" fmla="*/ 1241 w 540615"/>
                  <a:gd name="connsiteY10" fmla="*/ 487602 h 538583"/>
                  <a:gd name="connsiteX11" fmla="*/ 0 w 540615"/>
                  <a:gd name="connsiteY11" fmla="*/ 486098 h 538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40615" h="538583">
                    <a:moveTo>
                      <a:pt x="484825" y="0"/>
                    </a:moveTo>
                    <a:lnTo>
                      <a:pt x="487027" y="1817"/>
                    </a:lnTo>
                    <a:cubicBezTo>
                      <a:pt x="502567" y="17357"/>
                      <a:pt x="516625" y="34379"/>
                      <a:pt x="528971" y="52654"/>
                    </a:cubicBezTo>
                    <a:lnTo>
                      <a:pt x="540615" y="74106"/>
                    </a:lnTo>
                    <a:lnTo>
                      <a:pt x="540615" y="415313"/>
                    </a:lnTo>
                    <a:lnTo>
                      <a:pt x="528971" y="436765"/>
                    </a:lnTo>
                    <a:cubicBezTo>
                      <a:pt x="504279" y="473313"/>
                      <a:pt x="472738" y="504855"/>
                      <a:pt x="436189" y="529547"/>
                    </a:cubicBezTo>
                    <a:lnTo>
                      <a:pt x="419540" y="538583"/>
                    </a:lnTo>
                    <a:lnTo>
                      <a:pt x="68728" y="538583"/>
                    </a:lnTo>
                    <a:lnTo>
                      <a:pt x="52079" y="529547"/>
                    </a:lnTo>
                    <a:cubicBezTo>
                      <a:pt x="33804" y="517201"/>
                      <a:pt x="16782" y="503142"/>
                      <a:pt x="1241" y="487602"/>
                    </a:cubicBezTo>
                    <a:lnTo>
                      <a:pt x="0" y="48609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pic>
          <p:nvPicPr>
            <p:cNvPr id="4128" name="Picture 30" descr="group Icon 680871">
              <a:extLst>
                <a:ext uri="{FF2B5EF4-FFF2-40B4-BE49-F238E27FC236}">
                  <a16:creationId xmlns:a16="http://schemas.microsoft.com/office/drawing/2014/main" id="{A5E44D1C-3BD0-2388-F6FA-3FA7409ADE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25622" y="2249047"/>
              <a:ext cx="463757" cy="4637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31" name="그룹 4130">
            <a:extLst>
              <a:ext uri="{FF2B5EF4-FFF2-40B4-BE49-F238E27FC236}">
                <a16:creationId xmlns:a16="http://schemas.microsoft.com/office/drawing/2014/main" id="{312AFD8B-F697-B3D1-E26D-D5566DF4B8CC}"/>
              </a:ext>
            </a:extLst>
          </p:cNvPr>
          <p:cNvGrpSpPr/>
          <p:nvPr/>
        </p:nvGrpSpPr>
        <p:grpSpPr>
          <a:xfrm>
            <a:off x="7895125" y="3965020"/>
            <a:ext cx="823265" cy="757535"/>
            <a:chOff x="874256" y="2169556"/>
            <a:chExt cx="633622" cy="624548"/>
          </a:xfrm>
        </p:grpSpPr>
        <p:grpSp>
          <p:nvGrpSpPr>
            <p:cNvPr id="4132" name="Group 69">
              <a:extLst>
                <a:ext uri="{FF2B5EF4-FFF2-40B4-BE49-F238E27FC236}">
                  <a16:creationId xmlns:a16="http://schemas.microsoft.com/office/drawing/2014/main" id="{1286AB23-C61E-8DFB-CD12-3E3EF66AABED}"/>
                </a:ext>
              </a:extLst>
            </p:cNvPr>
            <p:cNvGrpSpPr/>
            <p:nvPr/>
          </p:nvGrpSpPr>
          <p:grpSpPr>
            <a:xfrm>
              <a:off x="874256" y="2169556"/>
              <a:ext cx="633622" cy="624548"/>
              <a:chOff x="727006" y="3940974"/>
              <a:chExt cx="696984" cy="687003"/>
            </a:xfrm>
          </p:grpSpPr>
          <p:sp>
            <p:nvSpPr>
              <p:cNvPr id="4136" name="Oval 64">
                <a:extLst>
                  <a:ext uri="{FF2B5EF4-FFF2-40B4-BE49-F238E27FC236}">
                    <a16:creationId xmlns:a16="http://schemas.microsoft.com/office/drawing/2014/main" id="{1747F01F-DD2D-74FB-5EBA-B12E7FBFA85B}"/>
                  </a:ext>
                </a:extLst>
              </p:cNvPr>
              <p:cNvSpPr/>
              <p:nvPr/>
            </p:nvSpPr>
            <p:spPr>
              <a:xfrm>
                <a:off x="727006" y="3940974"/>
                <a:ext cx="687003" cy="687003"/>
              </a:xfrm>
              <a:prstGeom prst="ellipse">
                <a:avLst/>
              </a:prstGeom>
              <a:solidFill>
                <a:srgbClr val="00B050"/>
              </a:solidFill>
              <a:ln w="1016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137" name="Freeform: Shape 68">
                <a:extLst>
                  <a:ext uri="{FF2B5EF4-FFF2-40B4-BE49-F238E27FC236}">
                    <a16:creationId xmlns:a16="http://schemas.microsoft.com/office/drawing/2014/main" id="{E04F1727-5906-2601-72F9-4446FE08F1A6}"/>
                  </a:ext>
                </a:extLst>
              </p:cNvPr>
              <p:cNvSpPr/>
              <p:nvPr/>
            </p:nvSpPr>
            <p:spPr>
              <a:xfrm>
                <a:off x="883375" y="4039767"/>
                <a:ext cx="540615" cy="538583"/>
              </a:xfrm>
              <a:custGeom>
                <a:avLst/>
                <a:gdLst>
                  <a:gd name="connsiteX0" fmla="*/ 484825 w 540615"/>
                  <a:gd name="connsiteY0" fmla="*/ 0 h 538583"/>
                  <a:gd name="connsiteX1" fmla="*/ 487027 w 540615"/>
                  <a:gd name="connsiteY1" fmla="*/ 1817 h 538583"/>
                  <a:gd name="connsiteX2" fmla="*/ 528971 w 540615"/>
                  <a:gd name="connsiteY2" fmla="*/ 52654 h 538583"/>
                  <a:gd name="connsiteX3" fmla="*/ 540615 w 540615"/>
                  <a:gd name="connsiteY3" fmla="*/ 74106 h 538583"/>
                  <a:gd name="connsiteX4" fmla="*/ 540615 w 540615"/>
                  <a:gd name="connsiteY4" fmla="*/ 415313 h 538583"/>
                  <a:gd name="connsiteX5" fmla="*/ 528971 w 540615"/>
                  <a:gd name="connsiteY5" fmla="*/ 436765 h 538583"/>
                  <a:gd name="connsiteX6" fmla="*/ 436189 w 540615"/>
                  <a:gd name="connsiteY6" fmla="*/ 529547 h 538583"/>
                  <a:gd name="connsiteX7" fmla="*/ 419540 w 540615"/>
                  <a:gd name="connsiteY7" fmla="*/ 538583 h 538583"/>
                  <a:gd name="connsiteX8" fmla="*/ 68728 w 540615"/>
                  <a:gd name="connsiteY8" fmla="*/ 538583 h 538583"/>
                  <a:gd name="connsiteX9" fmla="*/ 52079 w 540615"/>
                  <a:gd name="connsiteY9" fmla="*/ 529547 h 538583"/>
                  <a:gd name="connsiteX10" fmla="*/ 1241 w 540615"/>
                  <a:gd name="connsiteY10" fmla="*/ 487602 h 538583"/>
                  <a:gd name="connsiteX11" fmla="*/ 0 w 540615"/>
                  <a:gd name="connsiteY11" fmla="*/ 486098 h 538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40615" h="538583">
                    <a:moveTo>
                      <a:pt x="484825" y="0"/>
                    </a:moveTo>
                    <a:lnTo>
                      <a:pt x="487027" y="1817"/>
                    </a:lnTo>
                    <a:cubicBezTo>
                      <a:pt x="502567" y="17357"/>
                      <a:pt x="516625" y="34379"/>
                      <a:pt x="528971" y="52654"/>
                    </a:cubicBezTo>
                    <a:lnTo>
                      <a:pt x="540615" y="74106"/>
                    </a:lnTo>
                    <a:lnTo>
                      <a:pt x="540615" y="415313"/>
                    </a:lnTo>
                    <a:lnTo>
                      <a:pt x="528971" y="436765"/>
                    </a:lnTo>
                    <a:cubicBezTo>
                      <a:pt x="504279" y="473313"/>
                      <a:pt x="472738" y="504855"/>
                      <a:pt x="436189" y="529547"/>
                    </a:cubicBezTo>
                    <a:lnTo>
                      <a:pt x="419540" y="538583"/>
                    </a:lnTo>
                    <a:lnTo>
                      <a:pt x="68728" y="538583"/>
                    </a:lnTo>
                    <a:lnTo>
                      <a:pt x="52079" y="529547"/>
                    </a:lnTo>
                    <a:cubicBezTo>
                      <a:pt x="33804" y="517201"/>
                      <a:pt x="16782" y="503142"/>
                      <a:pt x="1241" y="487602"/>
                    </a:cubicBezTo>
                    <a:lnTo>
                      <a:pt x="0" y="486098"/>
                    </a:lnTo>
                    <a:close/>
                  </a:path>
                </a:pathLst>
              </a:custGeom>
              <a:solidFill>
                <a:schemeClr val="bg1"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133" name="Group 86">
              <a:extLst>
                <a:ext uri="{FF2B5EF4-FFF2-40B4-BE49-F238E27FC236}">
                  <a16:creationId xmlns:a16="http://schemas.microsoft.com/office/drawing/2014/main" id="{31629ECC-1E72-8BCD-28D6-AFC8FB6D6FB7}"/>
                </a:ext>
              </a:extLst>
            </p:cNvPr>
            <p:cNvGrpSpPr/>
            <p:nvPr/>
          </p:nvGrpSpPr>
          <p:grpSpPr>
            <a:xfrm>
              <a:off x="1071372" y="2352675"/>
              <a:ext cx="246133" cy="247216"/>
              <a:chOff x="5559599" y="2516004"/>
              <a:chExt cx="360363" cy="361950"/>
            </a:xfrm>
            <a:solidFill>
              <a:schemeClr val="bg1"/>
            </a:solidFill>
            <a:effectLst>
              <a:outerShdw blurRad="25400" dist="12700" dir="2700000" algn="tl" rotWithShape="0">
                <a:prstClr val="black">
                  <a:alpha val="20000"/>
                </a:prstClr>
              </a:outerShdw>
            </a:effectLst>
          </p:grpSpPr>
          <p:sp>
            <p:nvSpPr>
              <p:cNvPr id="4134" name="Freeform 72">
                <a:extLst>
                  <a:ext uri="{FF2B5EF4-FFF2-40B4-BE49-F238E27FC236}">
                    <a16:creationId xmlns:a16="http://schemas.microsoft.com/office/drawing/2014/main" id="{2BADE460-B0BE-B32F-5A7C-F88CCF8962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9599" y="2516004"/>
                <a:ext cx="360363" cy="361950"/>
              </a:xfrm>
              <a:custGeom>
                <a:avLst/>
                <a:gdLst>
                  <a:gd name="T0" fmla="*/ 84 w 96"/>
                  <a:gd name="T1" fmla="*/ 0 h 96"/>
                  <a:gd name="T2" fmla="*/ 12 w 96"/>
                  <a:gd name="T3" fmla="*/ 0 h 96"/>
                  <a:gd name="T4" fmla="*/ 0 w 96"/>
                  <a:gd name="T5" fmla="*/ 12 h 96"/>
                  <a:gd name="T6" fmla="*/ 0 w 96"/>
                  <a:gd name="T7" fmla="*/ 84 h 96"/>
                  <a:gd name="T8" fmla="*/ 12 w 96"/>
                  <a:gd name="T9" fmla="*/ 96 h 96"/>
                  <a:gd name="T10" fmla="*/ 84 w 96"/>
                  <a:gd name="T11" fmla="*/ 96 h 96"/>
                  <a:gd name="T12" fmla="*/ 96 w 96"/>
                  <a:gd name="T13" fmla="*/ 84 h 96"/>
                  <a:gd name="T14" fmla="*/ 96 w 96"/>
                  <a:gd name="T15" fmla="*/ 12 h 96"/>
                  <a:gd name="T16" fmla="*/ 84 w 96"/>
                  <a:gd name="T17" fmla="*/ 0 h 96"/>
                  <a:gd name="T18" fmla="*/ 48 w 96"/>
                  <a:gd name="T19" fmla="*/ 80 h 96"/>
                  <a:gd name="T20" fmla="*/ 16 w 96"/>
                  <a:gd name="T21" fmla="*/ 48 h 96"/>
                  <a:gd name="T22" fmla="*/ 48 w 96"/>
                  <a:gd name="T23" fmla="*/ 16 h 96"/>
                  <a:gd name="T24" fmla="*/ 80 w 96"/>
                  <a:gd name="T25" fmla="*/ 48 h 96"/>
                  <a:gd name="T26" fmla="*/ 48 w 96"/>
                  <a:gd name="T27" fmla="*/ 8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6" h="96">
                    <a:moveTo>
                      <a:pt x="84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5"/>
                      <a:pt x="0" y="12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91"/>
                      <a:pt x="5" y="96"/>
                      <a:pt x="12" y="96"/>
                    </a:cubicBezTo>
                    <a:cubicBezTo>
                      <a:pt x="84" y="96"/>
                      <a:pt x="84" y="96"/>
                      <a:pt x="84" y="96"/>
                    </a:cubicBezTo>
                    <a:cubicBezTo>
                      <a:pt x="91" y="96"/>
                      <a:pt x="96" y="91"/>
                      <a:pt x="96" y="84"/>
                    </a:cubicBezTo>
                    <a:cubicBezTo>
                      <a:pt x="96" y="12"/>
                      <a:pt x="96" y="12"/>
                      <a:pt x="96" y="12"/>
                    </a:cubicBezTo>
                    <a:cubicBezTo>
                      <a:pt x="96" y="5"/>
                      <a:pt x="91" y="0"/>
                      <a:pt x="84" y="0"/>
                    </a:cubicBezTo>
                    <a:close/>
                    <a:moveTo>
                      <a:pt x="48" y="80"/>
                    </a:moveTo>
                    <a:cubicBezTo>
                      <a:pt x="30" y="80"/>
                      <a:pt x="16" y="66"/>
                      <a:pt x="16" y="48"/>
                    </a:cubicBezTo>
                    <a:cubicBezTo>
                      <a:pt x="16" y="30"/>
                      <a:pt x="30" y="16"/>
                      <a:pt x="48" y="16"/>
                    </a:cubicBezTo>
                    <a:cubicBezTo>
                      <a:pt x="66" y="16"/>
                      <a:pt x="80" y="30"/>
                      <a:pt x="80" y="48"/>
                    </a:cubicBezTo>
                    <a:cubicBezTo>
                      <a:pt x="80" y="66"/>
                      <a:pt x="66" y="80"/>
                      <a:pt x="48" y="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dirty="0"/>
              </a:p>
            </p:txBody>
          </p:sp>
          <p:sp>
            <p:nvSpPr>
              <p:cNvPr id="4135" name="Freeform 73">
                <a:extLst>
                  <a:ext uri="{FF2B5EF4-FFF2-40B4-BE49-F238E27FC236}">
                    <a16:creationId xmlns:a16="http://schemas.microsoft.com/office/drawing/2014/main" id="{28F26B99-513E-0385-1ACB-51AFFF251E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9763" y="2622550"/>
                <a:ext cx="68263" cy="98425"/>
              </a:xfrm>
              <a:custGeom>
                <a:avLst/>
                <a:gdLst>
                  <a:gd name="T0" fmla="*/ 16 w 18"/>
                  <a:gd name="T1" fmla="*/ 22 h 26"/>
                  <a:gd name="T2" fmla="*/ 4 w 18"/>
                  <a:gd name="T3" fmla="*/ 22 h 26"/>
                  <a:gd name="T4" fmla="*/ 4 w 18"/>
                  <a:gd name="T5" fmla="*/ 2 h 26"/>
                  <a:gd name="T6" fmla="*/ 2 w 18"/>
                  <a:gd name="T7" fmla="*/ 0 h 26"/>
                  <a:gd name="T8" fmla="*/ 0 w 18"/>
                  <a:gd name="T9" fmla="*/ 2 h 26"/>
                  <a:gd name="T10" fmla="*/ 0 w 18"/>
                  <a:gd name="T11" fmla="*/ 26 h 26"/>
                  <a:gd name="T12" fmla="*/ 16 w 18"/>
                  <a:gd name="T13" fmla="*/ 26 h 26"/>
                  <a:gd name="T14" fmla="*/ 18 w 18"/>
                  <a:gd name="T15" fmla="*/ 24 h 26"/>
                  <a:gd name="T16" fmla="*/ 16 w 18"/>
                  <a:gd name="T17" fmla="*/ 2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26">
                    <a:moveTo>
                      <a:pt x="16" y="22"/>
                    </a:moveTo>
                    <a:cubicBezTo>
                      <a:pt x="4" y="22"/>
                      <a:pt x="4" y="22"/>
                      <a:pt x="4" y="2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1"/>
                      <a:pt x="3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16" y="26"/>
                      <a:pt x="16" y="26"/>
                      <a:pt x="16" y="26"/>
                    </a:cubicBezTo>
                    <a:cubicBezTo>
                      <a:pt x="17" y="26"/>
                      <a:pt x="18" y="25"/>
                      <a:pt x="18" y="24"/>
                    </a:cubicBezTo>
                    <a:cubicBezTo>
                      <a:pt x="18" y="23"/>
                      <a:pt x="17" y="22"/>
                      <a:pt x="16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4148" name="그룹 4147">
            <a:extLst>
              <a:ext uri="{FF2B5EF4-FFF2-40B4-BE49-F238E27FC236}">
                <a16:creationId xmlns:a16="http://schemas.microsoft.com/office/drawing/2014/main" id="{88FE28DE-25E8-DC43-778C-C55DB8AB4828}"/>
              </a:ext>
            </a:extLst>
          </p:cNvPr>
          <p:cNvGrpSpPr/>
          <p:nvPr/>
        </p:nvGrpSpPr>
        <p:grpSpPr>
          <a:xfrm>
            <a:off x="-8782" y="3184366"/>
            <a:ext cx="4129348" cy="802641"/>
            <a:chOff x="180298" y="2404825"/>
            <a:chExt cx="4129348" cy="802641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0009F018-5D56-4403-8DB3-9A2F558C74C4}"/>
                </a:ext>
              </a:extLst>
            </p:cNvPr>
            <p:cNvSpPr/>
            <p:nvPr/>
          </p:nvSpPr>
          <p:spPr>
            <a:xfrm>
              <a:off x="180298" y="2404825"/>
              <a:ext cx="3341972" cy="802641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algn="r">
                <a:spcBef>
                  <a:spcPts val="600"/>
                </a:spcBef>
              </a:pPr>
              <a:r>
                <a:rPr lang="ko-KR" altLang="en-US" b="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돌발 상황이 발생하여       교통수단을 탑승하지 못했을 시</a:t>
              </a:r>
              <a:r>
                <a:rPr lang="en-US" altLang="ko-KR" b="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 </a:t>
              </a:r>
              <a:r>
                <a:rPr lang="ko-KR" altLang="en-US" b="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해당 내용을 표시하고               다른 경로 탐색</a:t>
              </a:r>
              <a:endParaRPr lang="en-US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endParaRPr>
            </a:p>
          </p:txBody>
        </p:sp>
        <p:sp>
          <p:nvSpPr>
            <p:cNvPr id="4147" name="십자형 4146">
              <a:extLst>
                <a:ext uri="{FF2B5EF4-FFF2-40B4-BE49-F238E27FC236}">
                  <a16:creationId xmlns:a16="http://schemas.microsoft.com/office/drawing/2014/main" id="{FC127956-AD48-8DFF-F4D2-E1FDD30C35F6}"/>
                </a:ext>
              </a:extLst>
            </p:cNvPr>
            <p:cNvSpPr/>
            <p:nvPr/>
          </p:nvSpPr>
          <p:spPr>
            <a:xfrm rot="18900000" flipH="1">
              <a:off x="3860811" y="2582365"/>
              <a:ext cx="448835" cy="463156"/>
            </a:xfrm>
            <a:prstGeom prst="plus">
              <a:avLst>
                <a:gd name="adj" fmla="val 38296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grpSp>
        <p:nvGrpSpPr>
          <p:cNvPr id="4166" name="그룹 4165">
            <a:extLst>
              <a:ext uri="{FF2B5EF4-FFF2-40B4-BE49-F238E27FC236}">
                <a16:creationId xmlns:a16="http://schemas.microsoft.com/office/drawing/2014/main" id="{68B73D22-EAC1-D273-9C47-7F4E872A97DC}"/>
              </a:ext>
            </a:extLst>
          </p:cNvPr>
          <p:cNvGrpSpPr/>
          <p:nvPr/>
        </p:nvGrpSpPr>
        <p:grpSpPr>
          <a:xfrm>
            <a:off x="3992817" y="891916"/>
            <a:ext cx="3931651" cy="5764687"/>
            <a:chOff x="-1354610" y="1538611"/>
            <a:chExt cx="3931651" cy="5764687"/>
          </a:xfrm>
        </p:grpSpPr>
        <p:grpSp>
          <p:nvGrpSpPr>
            <p:cNvPr id="4159" name="그룹 4158">
              <a:extLst>
                <a:ext uri="{FF2B5EF4-FFF2-40B4-BE49-F238E27FC236}">
                  <a16:creationId xmlns:a16="http://schemas.microsoft.com/office/drawing/2014/main" id="{38606B24-88F9-DD3D-A836-B0B7BCD8818E}"/>
                </a:ext>
              </a:extLst>
            </p:cNvPr>
            <p:cNvGrpSpPr/>
            <p:nvPr/>
          </p:nvGrpSpPr>
          <p:grpSpPr>
            <a:xfrm>
              <a:off x="-638042" y="1713046"/>
              <a:ext cx="3072343" cy="5356494"/>
              <a:chOff x="4742299" y="1001173"/>
              <a:chExt cx="3072343" cy="5356494"/>
            </a:xfrm>
          </p:grpSpPr>
          <p:grpSp>
            <p:nvGrpSpPr>
              <p:cNvPr id="4158" name="그룹 4157">
                <a:extLst>
                  <a:ext uri="{FF2B5EF4-FFF2-40B4-BE49-F238E27FC236}">
                    <a16:creationId xmlns:a16="http://schemas.microsoft.com/office/drawing/2014/main" id="{85083FDF-9CDA-FA6A-8FC2-3F434F439395}"/>
                  </a:ext>
                </a:extLst>
              </p:cNvPr>
              <p:cNvGrpSpPr/>
              <p:nvPr/>
            </p:nvGrpSpPr>
            <p:grpSpPr>
              <a:xfrm>
                <a:off x="4742299" y="1001173"/>
                <a:ext cx="2561481" cy="5356494"/>
                <a:chOff x="4742299" y="1001173"/>
                <a:chExt cx="2561481" cy="5356494"/>
              </a:xfrm>
            </p:grpSpPr>
            <p:sp>
              <p:nvSpPr>
                <p:cNvPr id="15" name="Rectangle: Rounded Corners 148">
                  <a:extLst>
                    <a:ext uri="{FF2B5EF4-FFF2-40B4-BE49-F238E27FC236}">
                      <a16:creationId xmlns:a16="http://schemas.microsoft.com/office/drawing/2014/main" id="{88DA1A0E-74CC-663B-7EC7-651F87E84EA0}"/>
                    </a:ext>
                  </a:extLst>
                </p:cNvPr>
                <p:cNvSpPr/>
                <p:nvPr/>
              </p:nvSpPr>
              <p:spPr>
                <a:xfrm>
                  <a:off x="4742299" y="1001173"/>
                  <a:ext cx="2561481" cy="5261364"/>
                </a:xfrm>
                <a:prstGeom prst="roundRect">
                  <a:avLst>
                    <a:gd name="adj" fmla="val 7098"/>
                  </a:avLst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142" name="그룹 141">
                  <a:extLst>
                    <a:ext uri="{FF2B5EF4-FFF2-40B4-BE49-F238E27FC236}">
                      <a16:creationId xmlns:a16="http://schemas.microsoft.com/office/drawing/2014/main" id="{90A14C08-1CB7-BCB1-85A3-6F2742892E10}"/>
                    </a:ext>
                  </a:extLst>
                </p:cNvPr>
                <p:cNvGrpSpPr/>
                <p:nvPr/>
              </p:nvGrpSpPr>
              <p:grpSpPr>
                <a:xfrm>
                  <a:off x="4874271" y="4391761"/>
                  <a:ext cx="2313787" cy="1965906"/>
                  <a:chOff x="3906460" y="3038948"/>
                  <a:chExt cx="1095948" cy="133523"/>
                </a:xfrm>
              </p:grpSpPr>
              <p:sp>
                <p:nvSpPr>
                  <p:cNvPr id="143" name="타원 142">
                    <a:extLst>
                      <a:ext uri="{FF2B5EF4-FFF2-40B4-BE49-F238E27FC236}">
                        <a16:creationId xmlns:a16="http://schemas.microsoft.com/office/drawing/2014/main" id="{C7CED4F6-78D3-C8FD-ACE5-712EEE840FD2}"/>
                      </a:ext>
                    </a:extLst>
                  </p:cNvPr>
                  <p:cNvSpPr/>
                  <p:nvPr/>
                </p:nvSpPr>
                <p:spPr>
                  <a:xfrm flipH="1" flipV="1">
                    <a:off x="4946037" y="3071043"/>
                    <a:ext cx="45719" cy="4571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  <p:sp>
                <p:nvSpPr>
                  <p:cNvPr id="144" name="Rectangle: Rounded Corners 158">
                    <a:extLst>
                      <a:ext uri="{FF2B5EF4-FFF2-40B4-BE49-F238E27FC236}">
                        <a16:creationId xmlns:a16="http://schemas.microsoft.com/office/drawing/2014/main" id="{B735A80F-04AF-1123-A4B6-79A92E2E0DF1}"/>
                      </a:ext>
                    </a:extLst>
                  </p:cNvPr>
                  <p:cNvSpPr/>
                  <p:nvPr/>
                </p:nvSpPr>
                <p:spPr>
                  <a:xfrm>
                    <a:off x="3906460" y="3038948"/>
                    <a:ext cx="1095948" cy="133523"/>
                  </a:xfrm>
                  <a:prstGeom prst="roundRect">
                    <a:avLst>
                      <a:gd name="adj" fmla="val 7098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>
                    <a:outerShdw blurRad="50800" dist="38100" dir="5400000" algn="t" rotWithShape="0">
                      <a:srgbClr val="7983D7">
                        <a:alpha val="40000"/>
                      </a:srgb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</p:grpSp>
            <p:grpSp>
              <p:nvGrpSpPr>
                <p:cNvPr id="21" name="그룹 20">
                  <a:extLst>
                    <a:ext uri="{FF2B5EF4-FFF2-40B4-BE49-F238E27FC236}">
                      <a16:creationId xmlns:a16="http://schemas.microsoft.com/office/drawing/2014/main" id="{8046394A-7481-4EA0-E324-8728475B1874}"/>
                    </a:ext>
                  </a:extLst>
                </p:cNvPr>
                <p:cNvGrpSpPr/>
                <p:nvPr/>
              </p:nvGrpSpPr>
              <p:grpSpPr>
                <a:xfrm>
                  <a:off x="4869738" y="1853896"/>
                  <a:ext cx="2318320" cy="3802840"/>
                  <a:chOff x="3911238" y="3039437"/>
                  <a:chExt cx="1095948" cy="133523"/>
                </a:xfrm>
              </p:grpSpPr>
              <p:sp>
                <p:nvSpPr>
                  <p:cNvPr id="122" name="타원 121">
                    <a:extLst>
                      <a:ext uri="{FF2B5EF4-FFF2-40B4-BE49-F238E27FC236}">
                        <a16:creationId xmlns:a16="http://schemas.microsoft.com/office/drawing/2014/main" id="{4C10E46F-4F13-C418-CE1B-F1F3156AC7E3}"/>
                      </a:ext>
                    </a:extLst>
                  </p:cNvPr>
                  <p:cNvSpPr/>
                  <p:nvPr/>
                </p:nvSpPr>
                <p:spPr>
                  <a:xfrm flipH="1" flipV="1">
                    <a:off x="4946037" y="3071043"/>
                    <a:ext cx="45719" cy="4571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  <p:sp>
                <p:nvSpPr>
                  <p:cNvPr id="127" name="Rectangle: Rounded Corners 158">
                    <a:extLst>
                      <a:ext uri="{FF2B5EF4-FFF2-40B4-BE49-F238E27FC236}">
                        <a16:creationId xmlns:a16="http://schemas.microsoft.com/office/drawing/2014/main" id="{2C0F3BB7-6CF6-345A-006C-7EDB90DB3921}"/>
                      </a:ext>
                    </a:extLst>
                  </p:cNvPr>
                  <p:cNvSpPr/>
                  <p:nvPr/>
                </p:nvSpPr>
                <p:spPr>
                  <a:xfrm>
                    <a:off x="3911238" y="3039437"/>
                    <a:ext cx="1095948" cy="133523"/>
                  </a:xfrm>
                  <a:prstGeom prst="roundRect">
                    <a:avLst>
                      <a:gd name="adj" fmla="val 7098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>
                    <a:outerShdw blurRad="50800" dist="38100" dir="5400000" algn="t" rotWithShape="0">
                      <a:srgbClr val="7983D7">
                        <a:alpha val="40000"/>
                      </a:srgb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</p:grpSp>
            <p:grpSp>
              <p:nvGrpSpPr>
                <p:cNvPr id="4110" name="그룹 4109">
                  <a:extLst>
                    <a:ext uri="{FF2B5EF4-FFF2-40B4-BE49-F238E27FC236}">
                      <a16:creationId xmlns:a16="http://schemas.microsoft.com/office/drawing/2014/main" id="{1C78A394-1699-ACCE-9984-7593C05BC06C}"/>
                    </a:ext>
                  </a:extLst>
                </p:cNvPr>
                <p:cNvGrpSpPr/>
                <p:nvPr/>
              </p:nvGrpSpPr>
              <p:grpSpPr>
                <a:xfrm>
                  <a:off x="6553284" y="5078784"/>
                  <a:ext cx="575108" cy="529192"/>
                  <a:chOff x="874256" y="2169556"/>
                  <a:chExt cx="633622" cy="624548"/>
                </a:xfrm>
              </p:grpSpPr>
              <p:grpSp>
                <p:nvGrpSpPr>
                  <p:cNvPr id="4111" name="Group 69">
                    <a:extLst>
                      <a:ext uri="{FF2B5EF4-FFF2-40B4-BE49-F238E27FC236}">
                        <a16:creationId xmlns:a16="http://schemas.microsoft.com/office/drawing/2014/main" id="{91C17894-E490-A988-2106-60FE620D48CD}"/>
                      </a:ext>
                    </a:extLst>
                  </p:cNvPr>
                  <p:cNvGrpSpPr/>
                  <p:nvPr/>
                </p:nvGrpSpPr>
                <p:grpSpPr>
                  <a:xfrm>
                    <a:off x="874256" y="2169556"/>
                    <a:ext cx="633622" cy="624548"/>
                    <a:chOff x="727006" y="3940974"/>
                    <a:chExt cx="696984" cy="687003"/>
                  </a:xfrm>
                </p:grpSpPr>
                <p:sp>
                  <p:nvSpPr>
                    <p:cNvPr id="4115" name="Oval 64">
                      <a:extLst>
                        <a:ext uri="{FF2B5EF4-FFF2-40B4-BE49-F238E27FC236}">
                          <a16:creationId xmlns:a16="http://schemas.microsoft.com/office/drawing/2014/main" id="{48988EA3-EC7E-7244-038E-F99ABFD8315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7006" y="3940974"/>
                      <a:ext cx="687003" cy="687003"/>
                    </a:xfrm>
                    <a:prstGeom prst="ellipse">
                      <a:avLst/>
                    </a:prstGeom>
                    <a:solidFill>
                      <a:srgbClr val="00B050"/>
                    </a:solidFill>
                    <a:ln w="1016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4116" name="Freeform: Shape 68">
                      <a:extLst>
                        <a:ext uri="{FF2B5EF4-FFF2-40B4-BE49-F238E27FC236}">
                          <a16:creationId xmlns:a16="http://schemas.microsoft.com/office/drawing/2014/main" id="{2424F5FA-DA17-F9EF-990E-20F230F19E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3375" y="4039767"/>
                      <a:ext cx="540615" cy="538583"/>
                    </a:xfrm>
                    <a:custGeom>
                      <a:avLst/>
                      <a:gdLst>
                        <a:gd name="connsiteX0" fmla="*/ 484825 w 540615"/>
                        <a:gd name="connsiteY0" fmla="*/ 0 h 538583"/>
                        <a:gd name="connsiteX1" fmla="*/ 487027 w 540615"/>
                        <a:gd name="connsiteY1" fmla="*/ 1817 h 538583"/>
                        <a:gd name="connsiteX2" fmla="*/ 528971 w 540615"/>
                        <a:gd name="connsiteY2" fmla="*/ 52654 h 538583"/>
                        <a:gd name="connsiteX3" fmla="*/ 540615 w 540615"/>
                        <a:gd name="connsiteY3" fmla="*/ 74106 h 538583"/>
                        <a:gd name="connsiteX4" fmla="*/ 540615 w 540615"/>
                        <a:gd name="connsiteY4" fmla="*/ 415313 h 538583"/>
                        <a:gd name="connsiteX5" fmla="*/ 528971 w 540615"/>
                        <a:gd name="connsiteY5" fmla="*/ 436765 h 538583"/>
                        <a:gd name="connsiteX6" fmla="*/ 436189 w 540615"/>
                        <a:gd name="connsiteY6" fmla="*/ 529547 h 538583"/>
                        <a:gd name="connsiteX7" fmla="*/ 419540 w 540615"/>
                        <a:gd name="connsiteY7" fmla="*/ 538583 h 538583"/>
                        <a:gd name="connsiteX8" fmla="*/ 68728 w 540615"/>
                        <a:gd name="connsiteY8" fmla="*/ 538583 h 538583"/>
                        <a:gd name="connsiteX9" fmla="*/ 52079 w 540615"/>
                        <a:gd name="connsiteY9" fmla="*/ 529547 h 538583"/>
                        <a:gd name="connsiteX10" fmla="*/ 1241 w 540615"/>
                        <a:gd name="connsiteY10" fmla="*/ 487602 h 538583"/>
                        <a:gd name="connsiteX11" fmla="*/ 0 w 540615"/>
                        <a:gd name="connsiteY11" fmla="*/ 486098 h 5385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</a:cxnLst>
                      <a:rect l="l" t="t" r="r" b="b"/>
                      <a:pathLst>
                        <a:path w="540615" h="538583">
                          <a:moveTo>
                            <a:pt x="484825" y="0"/>
                          </a:moveTo>
                          <a:lnTo>
                            <a:pt x="487027" y="1817"/>
                          </a:lnTo>
                          <a:cubicBezTo>
                            <a:pt x="502567" y="17357"/>
                            <a:pt x="516625" y="34379"/>
                            <a:pt x="528971" y="52654"/>
                          </a:cubicBezTo>
                          <a:lnTo>
                            <a:pt x="540615" y="74106"/>
                          </a:lnTo>
                          <a:lnTo>
                            <a:pt x="540615" y="415313"/>
                          </a:lnTo>
                          <a:lnTo>
                            <a:pt x="528971" y="436765"/>
                          </a:lnTo>
                          <a:cubicBezTo>
                            <a:pt x="504279" y="473313"/>
                            <a:pt x="472738" y="504855"/>
                            <a:pt x="436189" y="529547"/>
                          </a:cubicBezTo>
                          <a:lnTo>
                            <a:pt x="419540" y="538583"/>
                          </a:lnTo>
                          <a:lnTo>
                            <a:pt x="68728" y="538583"/>
                          </a:lnTo>
                          <a:lnTo>
                            <a:pt x="52079" y="529547"/>
                          </a:lnTo>
                          <a:cubicBezTo>
                            <a:pt x="33804" y="517201"/>
                            <a:pt x="16782" y="503142"/>
                            <a:pt x="1241" y="487602"/>
                          </a:cubicBezTo>
                          <a:lnTo>
                            <a:pt x="0" y="486098"/>
                          </a:lnTo>
                          <a:close/>
                        </a:path>
                      </a:pathLst>
                    </a:custGeom>
                    <a:solidFill>
                      <a:schemeClr val="bg1">
                        <a:alpha val="2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square" rtlCol="0" anchor="ctr">
                      <a:noAutofit/>
                    </a:bodyPr>
                    <a:lstStyle/>
                    <a:p>
                      <a:pPr algn="ctr"/>
                      <a:endParaRPr lang="en-US"/>
                    </a:p>
                  </p:txBody>
                </p:sp>
              </p:grpSp>
              <p:grpSp>
                <p:nvGrpSpPr>
                  <p:cNvPr id="4112" name="Group 86">
                    <a:extLst>
                      <a:ext uri="{FF2B5EF4-FFF2-40B4-BE49-F238E27FC236}">
                        <a16:creationId xmlns:a16="http://schemas.microsoft.com/office/drawing/2014/main" id="{339DD648-1631-45BF-CA9F-A936F321D70D}"/>
                      </a:ext>
                    </a:extLst>
                  </p:cNvPr>
                  <p:cNvGrpSpPr/>
                  <p:nvPr/>
                </p:nvGrpSpPr>
                <p:grpSpPr>
                  <a:xfrm>
                    <a:off x="1071372" y="2352675"/>
                    <a:ext cx="246133" cy="247216"/>
                    <a:chOff x="5559599" y="2516004"/>
                    <a:chExt cx="360363" cy="361950"/>
                  </a:xfrm>
                  <a:solidFill>
                    <a:schemeClr val="bg1"/>
                  </a:solidFill>
                  <a:effectLst>
                    <a:outerShdw blurRad="25400" dist="12700" dir="2700000" algn="tl" rotWithShape="0">
                      <a:prstClr val="black">
                        <a:alpha val="20000"/>
                      </a:prstClr>
                    </a:outerShdw>
                  </a:effectLst>
                </p:grpSpPr>
                <p:sp>
                  <p:nvSpPr>
                    <p:cNvPr id="4113" name="Freeform 72">
                      <a:extLst>
                        <a:ext uri="{FF2B5EF4-FFF2-40B4-BE49-F238E27FC236}">
                          <a16:creationId xmlns:a16="http://schemas.microsoft.com/office/drawing/2014/main" id="{C8829901-C0FD-2D67-A1F7-E80AC1606B27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559599" y="2516004"/>
                      <a:ext cx="360363" cy="361950"/>
                    </a:xfrm>
                    <a:custGeom>
                      <a:avLst/>
                      <a:gdLst>
                        <a:gd name="T0" fmla="*/ 84 w 96"/>
                        <a:gd name="T1" fmla="*/ 0 h 96"/>
                        <a:gd name="T2" fmla="*/ 12 w 96"/>
                        <a:gd name="T3" fmla="*/ 0 h 96"/>
                        <a:gd name="T4" fmla="*/ 0 w 96"/>
                        <a:gd name="T5" fmla="*/ 12 h 96"/>
                        <a:gd name="T6" fmla="*/ 0 w 96"/>
                        <a:gd name="T7" fmla="*/ 84 h 96"/>
                        <a:gd name="T8" fmla="*/ 12 w 96"/>
                        <a:gd name="T9" fmla="*/ 96 h 96"/>
                        <a:gd name="T10" fmla="*/ 84 w 96"/>
                        <a:gd name="T11" fmla="*/ 96 h 96"/>
                        <a:gd name="T12" fmla="*/ 96 w 96"/>
                        <a:gd name="T13" fmla="*/ 84 h 96"/>
                        <a:gd name="T14" fmla="*/ 96 w 96"/>
                        <a:gd name="T15" fmla="*/ 12 h 96"/>
                        <a:gd name="T16" fmla="*/ 84 w 96"/>
                        <a:gd name="T17" fmla="*/ 0 h 96"/>
                        <a:gd name="T18" fmla="*/ 48 w 96"/>
                        <a:gd name="T19" fmla="*/ 80 h 96"/>
                        <a:gd name="T20" fmla="*/ 16 w 96"/>
                        <a:gd name="T21" fmla="*/ 48 h 96"/>
                        <a:gd name="T22" fmla="*/ 48 w 96"/>
                        <a:gd name="T23" fmla="*/ 16 h 96"/>
                        <a:gd name="T24" fmla="*/ 80 w 96"/>
                        <a:gd name="T25" fmla="*/ 48 h 96"/>
                        <a:gd name="T26" fmla="*/ 48 w 96"/>
                        <a:gd name="T27" fmla="*/ 80 h 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6" h="96">
                          <a:moveTo>
                            <a:pt x="84" y="0"/>
                          </a:moveTo>
                          <a:cubicBezTo>
                            <a:pt x="12" y="0"/>
                            <a:pt x="12" y="0"/>
                            <a:pt x="12" y="0"/>
                          </a:cubicBezTo>
                          <a:cubicBezTo>
                            <a:pt x="5" y="0"/>
                            <a:pt x="0" y="5"/>
                            <a:pt x="0" y="12"/>
                          </a:cubicBezTo>
                          <a:cubicBezTo>
                            <a:pt x="0" y="84"/>
                            <a:pt x="0" y="84"/>
                            <a:pt x="0" y="84"/>
                          </a:cubicBezTo>
                          <a:cubicBezTo>
                            <a:pt x="0" y="91"/>
                            <a:pt x="5" y="96"/>
                            <a:pt x="12" y="96"/>
                          </a:cubicBezTo>
                          <a:cubicBezTo>
                            <a:pt x="84" y="96"/>
                            <a:pt x="84" y="96"/>
                            <a:pt x="84" y="96"/>
                          </a:cubicBezTo>
                          <a:cubicBezTo>
                            <a:pt x="91" y="96"/>
                            <a:pt x="96" y="91"/>
                            <a:pt x="96" y="84"/>
                          </a:cubicBezTo>
                          <a:cubicBezTo>
                            <a:pt x="96" y="12"/>
                            <a:pt x="96" y="12"/>
                            <a:pt x="96" y="12"/>
                          </a:cubicBezTo>
                          <a:cubicBezTo>
                            <a:pt x="96" y="5"/>
                            <a:pt x="91" y="0"/>
                            <a:pt x="84" y="0"/>
                          </a:cubicBezTo>
                          <a:close/>
                          <a:moveTo>
                            <a:pt x="48" y="80"/>
                          </a:moveTo>
                          <a:cubicBezTo>
                            <a:pt x="30" y="80"/>
                            <a:pt x="16" y="66"/>
                            <a:pt x="16" y="48"/>
                          </a:cubicBezTo>
                          <a:cubicBezTo>
                            <a:pt x="16" y="30"/>
                            <a:pt x="30" y="16"/>
                            <a:pt x="48" y="16"/>
                          </a:cubicBezTo>
                          <a:cubicBezTo>
                            <a:pt x="66" y="16"/>
                            <a:pt x="80" y="30"/>
                            <a:pt x="80" y="48"/>
                          </a:cubicBezTo>
                          <a:cubicBezTo>
                            <a:pt x="80" y="66"/>
                            <a:pt x="66" y="80"/>
                            <a:pt x="48" y="8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id-ID" dirty="0"/>
                    </a:p>
                  </p:txBody>
                </p:sp>
                <p:sp>
                  <p:nvSpPr>
                    <p:cNvPr id="4114" name="Freeform 73">
                      <a:extLst>
                        <a:ext uri="{FF2B5EF4-FFF2-40B4-BE49-F238E27FC236}">
                          <a16:creationId xmlns:a16="http://schemas.microsoft.com/office/drawing/2014/main" id="{F33466F4-8C4E-F4B0-9D8B-CC06ED5C3C53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5719763" y="2622550"/>
                      <a:ext cx="68263" cy="98425"/>
                    </a:xfrm>
                    <a:custGeom>
                      <a:avLst/>
                      <a:gdLst>
                        <a:gd name="T0" fmla="*/ 16 w 18"/>
                        <a:gd name="T1" fmla="*/ 22 h 26"/>
                        <a:gd name="T2" fmla="*/ 4 w 18"/>
                        <a:gd name="T3" fmla="*/ 22 h 26"/>
                        <a:gd name="T4" fmla="*/ 4 w 18"/>
                        <a:gd name="T5" fmla="*/ 2 h 26"/>
                        <a:gd name="T6" fmla="*/ 2 w 18"/>
                        <a:gd name="T7" fmla="*/ 0 h 26"/>
                        <a:gd name="T8" fmla="*/ 0 w 18"/>
                        <a:gd name="T9" fmla="*/ 2 h 26"/>
                        <a:gd name="T10" fmla="*/ 0 w 18"/>
                        <a:gd name="T11" fmla="*/ 26 h 26"/>
                        <a:gd name="T12" fmla="*/ 16 w 18"/>
                        <a:gd name="T13" fmla="*/ 26 h 26"/>
                        <a:gd name="T14" fmla="*/ 18 w 18"/>
                        <a:gd name="T15" fmla="*/ 24 h 26"/>
                        <a:gd name="T16" fmla="*/ 16 w 18"/>
                        <a:gd name="T17" fmla="*/ 22 h 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8" h="26">
                          <a:moveTo>
                            <a:pt x="16" y="22"/>
                          </a:moveTo>
                          <a:cubicBezTo>
                            <a:pt x="4" y="22"/>
                            <a:pt x="4" y="22"/>
                            <a:pt x="4" y="22"/>
                          </a:cubicBezTo>
                          <a:cubicBezTo>
                            <a:pt x="4" y="2"/>
                            <a:pt x="4" y="2"/>
                            <a:pt x="4" y="2"/>
                          </a:cubicBezTo>
                          <a:cubicBezTo>
                            <a:pt x="4" y="1"/>
                            <a:pt x="3" y="0"/>
                            <a:pt x="2" y="0"/>
                          </a:cubicBezTo>
                          <a:cubicBezTo>
                            <a:pt x="1" y="0"/>
                            <a:pt x="0" y="1"/>
                            <a:pt x="0" y="2"/>
                          </a:cubicBezTo>
                          <a:cubicBezTo>
                            <a:pt x="0" y="26"/>
                            <a:pt x="0" y="26"/>
                            <a:pt x="0" y="26"/>
                          </a:cubicBezTo>
                          <a:cubicBezTo>
                            <a:pt x="16" y="26"/>
                            <a:pt x="16" y="26"/>
                            <a:pt x="16" y="26"/>
                          </a:cubicBezTo>
                          <a:cubicBezTo>
                            <a:pt x="17" y="26"/>
                            <a:pt x="18" y="25"/>
                            <a:pt x="18" y="24"/>
                          </a:cubicBezTo>
                          <a:cubicBezTo>
                            <a:pt x="18" y="23"/>
                            <a:pt x="17" y="22"/>
                            <a:pt x="16" y="22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id-ID"/>
                    </a:p>
                  </p:txBody>
                </p:sp>
              </p:grpSp>
            </p:grpSp>
            <p:grpSp>
              <p:nvGrpSpPr>
                <p:cNvPr id="4121" name="그룹 4120">
                  <a:extLst>
                    <a:ext uri="{FF2B5EF4-FFF2-40B4-BE49-F238E27FC236}">
                      <a16:creationId xmlns:a16="http://schemas.microsoft.com/office/drawing/2014/main" id="{065E6688-FC3C-4117-30E3-8BFF1BCDE0F9}"/>
                    </a:ext>
                  </a:extLst>
                </p:cNvPr>
                <p:cNvGrpSpPr/>
                <p:nvPr/>
              </p:nvGrpSpPr>
              <p:grpSpPr>
                <a:xfrm>
                  <a:off x="6553283" y="2679894"/>
                  <a:ext cx="573351" cy="565140"/>
                  <a:chOff x="4133443" y="2169556"/>
                  <a:chExt cx="633622" cy="624548"/>
                </a:xfrm>
              </p:grpSpPr>
              <p:grpSp>
                <p:nvGrpSpPr>
                  <p:cNvPr id="4117" name="Group 73">
                    <a:extLst>
                      <a:ext uri="{FF2B5EF4-FFF2-40B4-BE49-F238E27FC236}">
                        <a16:creationId xmlns:a16="http://schemas.microsoft.com/office/drawing/2014/main" id="{F46F9ECB-3384-010B-E9B9-3251347613A2}"/>
                      </a:ext>
                    </a:extLst>
                  </p:cNvPr>
                  <p:cNvGrpSpPr/>
                  <p:nvPr/>
                </p:nvGrpSpPr>
                <p:grpSpPr>
                  <a:xfrm>
                    <a:off x="4133443" y="2169556"/>
                    <a:ext cx="633622" cy="624548"/>
                    <a:chOff x="727006" y="3940974"/>
                    <a:chExt cx="696984" cy="687003"/>
                  </a:xfrm>
                </p:grpSpPr>
                <p:sp>
                  <p:nvSpPr>
                    <p:cNvPr id="4118" name="Oval 74">
                      <a:extLst>
                        <a:ext uri="{FF2B5EF4-FFF2-40B4-BE49-F238E27FC236}">
                          <a16:creationId xmlns:a16="http://schemas.microsoft.com/office/drawing/2014/main" id="{90FC08E6-252D-DCE8-E969-0078A7630D5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7006" y="3940974"/>
                      <a:ext cx="687003" cy="687003"/>
                    </a:xfrm>
                    <a:prstGeom prst="ellipse">
                      <a:avLst/>
                    </a:prstGeom>
                    <a:solidFill>
                      <a:srgbClr val="FFC000"/>
                    </a:solidFill>
                    <a:ln w="1016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  <p:sp>
                  <p:nvSpPr>
                    <p:cNvPr id="4119" name="Freeform: Shape 75">
                      <a:extLst>
                        <a:ext uri="{FF2B5EF4-FFF2-40B4-BE49-F238E27FC236}">
                          <a16:creationId xmlns:a16="http://schemas.microsoft.com/office/drawing/2014/main" id="{7590C7D0-FD7D-D5F7-C9B3-E6F6BBAD63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3375" y="4039767"/>
                      <a:ext cx="540615" cy="538583"/>
                    </a:xfrm>
                    <a:custGeom>
                      <a:avLst/>
                      <a:gdLst>
                        <a:gd name="connsiteX0" fmla="*/ 484825 w 540615"/>
                        <a:gd name="connsiteY0" fmla="*/ 0 h 538583"/>
                        <a:gd name="connsiteX1" fmla="*/ 487027 w 540615"/>
                        <a:gd name="connsiteY1" fmla="*/ 1817 h 538583"/>
                        <a:gd name="connsiteX2" fmla="*/ 528971 w 540615"/>
                        <a:gd name="connsiteY2" fmla="*/ 52654 h 538583"/>
                        <a:gd name="connsiteX3" fmla="*/ 540615 w 540615"/>
                        <a:gd name="connsiteY3" fmla="*/ 74106 h 538583"/>
                        <a:gd name="connsiteX4" fmla="*/ 540615 w 540615"/>
                        <a:gd name="connsiteY4" fmla="*/ 415313 h 538583"/>
                        <a:gd name="connsiteX5" fmla="*/ 528971 w 540615"/>
                        <a:gd name="connsiteY5" fmla="*/ 436765 h 538583"/>
                        <a:gd name="connsiteX6" fmla="*/ 436189 w 540615"/>
                        <a:gd name="connsiteY6" fmla="*/ 529547 h 538583"/>
                        <a:gd name="connsiteX7" fmla="*/ 419540 w 540615"/>
                        <a:gd name="connsiteY7" fmla="*/ 538583 h 538583"/>
                        <a:gd name="connsiteX8" fmla="*/ 68728 w 540615"/>
                        <a:gd name="connsiteY8" fmla="*/ 538583 h 538583"/>
                        <a:gd name="connsiteX9" fmla="*/ 52079 w 540615"/>
                        <a:gd name="connsiteY9" fmla="*/ 529547 h 538583"/>
                        <a:gd name="connsiteX10" fmla="*/ 1241 w 540615"/>
                        <a:gd name="connsiteY10" fmla="*/ 487602 h 538583"/>
                        <a:gd name="connsiteX11" fmla="*/ 0 w 540615"/>
                        <a:gd name="connsiteY11" fmla="*/ 486098 h 5385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</a:cxnLst>
                      <a:rect l="l" t="t" r="r" b="b"/>
                      <a:pathLst>
                        <a:path w="540615" h="538583">
                          <a:moveTo>
                            <a:pt x="484825" y="0"/>
                          </a:moveTo>
                          <a:lnTo>
                            <a:pt x="487027" y="1817"/>
                          </a:lnTo>
                          <a:cubicBezTo>
                            <a:pt x="502567" y="17357"/>
                            <a:pt x="516625" y="34379"/>
                            <a:pt x="528971" y="52654"/>
                          </a:cubicBezTo>
                          <a:lnTo>
                            <a:pt x="540615" y="74106"/>
                          </a:lnTo>
                          <a:lnTo>
                            <a:pt x="540615" y="415313"/>
                          </a:lnTo>
                          <a:lnTo>
                            <a:pt x="528971" y="436765"/>
                          </a:lnTo>
                          <a:cubicBezTo>
                            <a:pt x="504279" y="473313"/>
                            <a:pt x="472738" y="504855"/>
                            <a:pt x="436189" y="529547"/>
                          </a:cubicBezTo>
                          <a:lnTo>
                            <a:pt x="419540" y="538583"/>
                          </a:lnTo>
                          <a:lnTo>
                            <a:pt x="68728" y="538583"/>
                          </a:lnTo>
                          <a:lnTo>
                            <a:pt x="52079" y="529547"/>
                          </a:lnTo>
                          <a:cubicBezTo>
                            <a:pt x="33804" y="517201"/>
                            <a:pt x="16782" y="503142"/>
                            <a:pt x="1241" y="487602"/>
                          </a:cubicBezTo>
                          <a:lnTo>
                            <a:pt x="0" y="486098"/>
                          </a:lnTo>
                          <a:close/>
                        </a:path>
                      </a:pathLst>
                    </a:custGeom>
                    <a:solidFill>
                      <a:schemeClr val="bg1">
                        <a:alpha val="2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square" rtlCol="0" anchor="ctr">
                      <a:noAutofit/>
                    </a:bodyPr>
                    <a:lstStyle/>
                    <a:p>
                      <a:pPr algn="ctr"/>
                      <a:endParaRPr lang="en-US"/>
                    </a:p>
                  </p:txBody>
                </p:sp>
              </p:grpSp>
              <p:pic>
                <p:nvPicPr>
                  <p:cNvPr id="4120" name="Picture 30" descr="group Icon 680871">
                    <a:extLst>
                      <a:ext uri="{FF2B5EF4-FFF2-40B4-BE49-F238E27FC236}">
                        <a16:creationId xmlns:a16="http://schemas.microsoft.com/office/drawing/2014/main" id="{DA7AD879-06A7-CE23-8F22-D1A2D8206E29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7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225622" y="2249047"/>
                    <a:ext cx="463757" cy="46375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grpSp>
              <p:nvGrpSpPr>
                <p:cNvPr id="4155" name="그룹 4154">
                  <a:extLst>
                    <a:ext uri="{FF2B5EF4-FFF2-40B4-BE49-F238E27FC236}">
                      <a16:creationId xmlns:a16="http://schemas.microsoft.com/office/drawing/2014/main" id="{F7339D1C-9EAB-A7D3-AE87-DC31382F23A7}"/>
                    </a:ext>
                  </a:extLst>
                </p:cNvPr>
                <p:cNvGrpSpPr/>
                <p:nvPr/>
              </p:nvGrpSpPr>
              <p:grpSpPr>
                <a:xfrm>
                  <a:off x="4950177" y="2726992"/>
                  <a:ext cx="1370825" cy="484491"/>
                  <a:chOff x="4897957" y="2597207"/>
                  <a:chExt cx="1370825" cy="484491"/>
                </a:xfrm>
              </p:grpSpPr>
              <p:sp>
                <p:nvSpPr>
                  <p:cNvPr id="177" name="TextBox 176">
                    <a:extLst>
                      <a:ext uri="{FF2B5EF4-FFF2-40B4-BE49-F238E27FC236}">
                        <a16:creationId xmlns:a16="http://schemas.microsoft.com/office/drawing/2014/main" id="{5AFA1BAF-62A5-753B-8758-BB8DDEADBF3E}"/>
                      </a:ext>
                    </a:extLst>
                  </p:cNvPr>
                  <p:cNvSpPr txBox="1"/>
                  <p:nvPr/>
                </p:nvSpPr>
                <p:spPr>
                  <a:xfrm>
                    <a:off x="5331522" y="2645061"/>
                    <a:ext cx="937260" cy="30777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US" altLang="ko-KR" sz="1400" dirty="0">
                        <a:solidFill>
                          <a:srgbClr val="7983D7"/>
                        </a:solidFill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A</a:t>
                    </a:r>
                    <a:r>
                      <a:rPr lang="ko-KR" altLang="en-US" sz="1400" dirty="0">
                        <a:solidFill>
                          <a:srgbClr val="7983D7"/>
                        </a:solidFill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역 승차</a:t>
                    </a:r>
                    <a:endParaRPr lang="ko-KR" altLang="en-US" sz="900" dirty="0">
                      <a:solidFill>
                        <a:srgbClr val="7983D7"/>
                      </a:solidFill>
                      <a:latin typeface="HY견고딕" panose="02030600000101010101" pitchFamily="18" charset="-127"/>
                      <a:ea typeface="HY견고딕" panose="02030600000101010101" pitchFamily="18" charset="-127"/>
                    </a:endParaRPr>
                  </a:p>
                </p:txBody>
              </p:sp>
              <p:sp>
                <p:nvSpPr>
                  <p:cNvPr id="172" name="Oval 161">
                    <a:extLst>
                      <a:ext uri="{FF2B5EF4-FFF2-40B4-BE49-F238E27FC236}">
                        <a16:creationId xmlns:a16="http://schemas.microsoft.com/office/drawing/2014/main" id="{A7E1C739-F8B1-3D18-06BA-E9CAB703087B}"/>
                      </a:ext>
                    </a:extLst>
                  </p:cNvPr>
                  <p:cNvSpPr/>
                  <p:nvPr/>
                </p:nvSpPr>
                <p:spPr>
                  <a:xfrm>
                    <a:off x="4946341" y="2643347"/>
                    <a:ext cx="385180" cy="373269"/>
                  </a:xfrm>
                  <a:prstGeom prst="ellipse">
                    <a:avLst/>
                  </a:prstGeom>
                  <a:gradFill>
                    <a:gsLst>
                      <a:gs pos="100000">
                        <a:srgbClr val="4757B8"/>
                      </a:gs>
                      <a:gs pos="38000">
                        <a:srgbClr val="7983D7"/>
                      </a:gs>
                    </a:gsLst>
                    <a:lin ang="8100000" scaled="1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pic>
                <p:nvPicPr>
                  <p:cNvPr id="4124" name="Picture 28" descr="Subway Icon 107709">
                    <a:extLst>
                      <a:ext uri="{FF2B5EF4-FFF2-40B4-BE49-F238E27FC236}">
                        <a16:creationId xmlns:a16="http://schemas.microsoft.com/office/drawing/2014/main" id="{A6FE0A4D-2411-8439-8044-9BF7B2F7DA14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8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897957" y="2597207"/>
                    <a:ext cx="484491" cy="484491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grpSp>
              <p:nvGrpSpPr>
                <p:cNvPr id="4153" name="그룹 4152">
                  <a:extLst>
                    <a:ext uri="{FF2B5EF4-FFF2-40B4-BE49-F238E27FC236}">
                      <a16:creationId xmlns:a16="http://schemas.microsoft.com/office/drawing/2014/main" id="{D004D6FA-FF7B-0D29-75DF-2A3CD489E884}"/>
                    </a:ext>
                  </a:extLst>
                </p:cNvPr>
                <p:cNvGrpSpPr/>
                <p:nvPr/>
              </p:nvGrpSpPr>
              <p:grpSpPr>
                <a:xfrm>
                  <a:off x="5125131" y="3208635"/>
                  <a:ext cx="1062260" cy="1890879"/>
                  <a:chOff x="5101698" y="3062919"/>
                  <a:chExt cx="726851" cy="1098297"/>
                </a:xfrm>
              </p:grpSpPr>
              <p:cxnSp>
                <p:nvCxnSpPr>
                  <p:cNvPr id="174" name="직선 연결선 173">
                    <a:extLst>
                      <a:ext uri="{FF2B5EF4-FFF2-40B4-BE49-F238E27FC236}">
                        <a16:creationId xmlns:a16="http://schemas.microsoft.com/office/drawing/2014/main" id="{CFAAF57D-F01D-3AC2-A6B4-4F2187FC12C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5137494" y="3062919"/>
                    <a:ext cx="0" cy="1098297"/>
                  </a:xfrm>
                  <a:prstGeom prst="line">
                    <a:avLst/>
                  </a:prstGeom>
                  <a:ln w="15875">
                    <a:solidFill>
                      <a:srgbClr val="7983D7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78" name="타원 177">
                    <a:extLst>
                      <a:ext uri="{FF2B5EF4-FFF2-40B4-BE49-F238E27FC236}">
                        <a16:creationId xmlns:a16="http://schemas.microsoft.com/office/drawing/2014/main" id="{326FAA2A-F6F3-091E-BFDE-48A13AB63347}"/>
                      </a:ext>
                    </a:extLst>
                  </p:cNvPr>
                  <p:cNvSpPr/>
                  <p:nvPr/>
                </p:nvSpPr>
                <p:spPr>
                  <a:xfrm>
                    <a:off x="5101698" y="3186857"/>
                    <a:ext cx="71248" cy="71248"/>
                  </a:xfrm>
                  <a:prstGeom prst="ellipse">
                    <a:avLst/>
                  </a:prstGeom>
                  <a:solidFill>
                    <a:srgbClr val="7983D7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  <p:sp>
                <p:nvSpPr>
                  <p:cNvPr id="179" name="타원 178">
                    <a:extLst>
                      <a:ext uri="{FF2B5EF4-FFF2-40B4-BE49-F238E27FC236}">
                        <a16:creationId xmlns:a16="http://schemas.microsoft.com/office/drawing/2014/main" id="{AE40BB85-DEAB-7E15-FD77-8DF38E56B030}"/>
                      </a:ext>
                    </a:extLst>
                  </p:cNvPr>
                  <p:cNvSpPr/>
                  <p:nvPr/>
                </p:nvSpPr>
                <p:spPr>
                  <a:xfrm>
                    <a:off x="5101698" y="3364633"/>
                    <a:ext cx="71248" cy="71248"/>
                  </a:xfrm>
                  <a:prstGeom prst="ellipse">
                    <a:avLst/>
                  </a:prstGeom>
                  <a:solidFill>
                    <a:srgbClr val="7983D7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  <p:sp>
                <p:nvSpPr>
                  <p:cNvPr id="180" name="타원 179">
                    <a:extLst>
                      <a:ext uri="{FF2B5EF4-FFF2-40B4-BE49-F238E27FC236}">
                        <a16:creationId xmlns:a16="http://schemas.microsoft.com/office/drawing/2014/main" id="{1995677D-895F-37C0-15BA-E03BE2AFD40F}"/>
                      </a:ext>
                    </a:extLst>
                  </p:cNvPr>
                  <p:cNvSpPr/>
                  <p:nvPr/>
                </p:nvSpPr>
                <p:spPr>
                  <a:xfrm>
                    <a:off x="5101698" y="3553176"/>
                    <a:ext cx="71248" cy="71248"/>
                  </a:xfrm>
                  <a:prstGeom prst="ellipse">
                    <a:avLst/>
                  </a:prstGeom>
                  <a:solidFill>
                    <a:srgbClr val="7983D7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  <p:sp>
                <p:nvSpPr>
                  <p:cNvPr id="181" name="타원 180">
                    <a:extLst>
                      <a:ext uri="{FF2B5EF4-FFF2-40B4-BE49-F238E27FC236}">
                        <a16:creationId xmlns:a16="http://schemas.microsoft.com/office/drawing/2014/main" id="{F6E6743C-872D-F829-BBC8-B4C2151EFF59}"/>
                      </a:ext>
                    </a:extLst>
                  </p:cNvPr>
                  <p:cNvSpPr/>
                  <p:nvPr/>
                </p:nvSpPr>
                <p:spPr>
                  <a:xfrm>
                    <a:off x="5101698" y="3736199"/>
                    <a:ext cx="71248" cy="71248"/>
                  </a:xfrm>
                  <a:prstGeom prst="ellipse">
                    <a:avLst/>
                  </a:prstGeom>
                  <a:solidFill>
                    <a:srgbClr val="7983D7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  <p:sp>
                <p:nvSpPr>
                  <p:cNvPr id="182" name="타원 181">
                    <a:extLst>
                      <a:ext uri="{FF2B5EF4-FFF2-40B4-BE49-F238E27FC236}">
                        <a16:creationId xmlns:a16="http://schemas.microsoft.com/office/drawing/2014/main" id="{74190753-8D43-DCC9-7BF6-762E9E380DB6}"/>
                      </a:ext>
                    </a:extLst>
                  </p:cNvPr>
                  <p:cNvSpPr/>
                  <p:nvPr/>
                </p:nvSpPr>
                <p:spPr>
                  <a:xfrm>
                    <a:off x="5101698" y="3925094"/>
                    <a:ext cx="71248" cy="71248"/>
                  </a:xfrm>
                  <a:prstGeom prst="ellipse">
                    <a:avLst/>
                  </a:prstGeom>
                  <a:solidFill>
                    <a:srgbClr val="7983D7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ko-KR" altLang="en-US"/>
                  </a:p>
                </p:txBody>
              </p:sp>
              <p:sp>
                <p:nvSpPr>
                  <p:cNvPr id="185" name="TextBox 184">
                    <a:extLst>
                      <a:ext uri="{FF2B5EF4-FFF2-40B4-BE49-F238E27FC236}">
                        <a16:creationId xmlns:a16="http://schemas.microsoft.com/office/drawing/2014/main" id="{CF40D4F8-606F-676E-8278-C0215A2F1598}"/>
                      </a:ext>
                    </a:extLst>
                  </p:cNvPr>
                  <p:cNvSpPr txBox="1"/>
                  <p:nvPr/>
                </p:nvSpPr>
                <p:spPr>
                  <a:xfrm>
                    <a:off x="5187710" y="3147711"/>
                    <a:ext cx="637920" cy="24571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US" altLang="ko-KR" sz="1000" dirty="0">
                        <a:solidFill>
                          <a:srgbClr val="7983D7"/>
                        </a:solidFill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B</a:t>
                    </a:r>
                    <a:r>
                      <a:rPr lang="ko-KR" altLang="en-US" sz="1000" dirty="0">
                        <a:solidFill>
                          <a:srgbClr val="7983D7"/>
                        </a:solidFill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역</a:t>
                    </a:r>
                  </a:p>
                </p:txBody>
              </p:sp>
              <p:sp>
                <p:nvSpPr>
                  <p:cNvPr id="189" name="TextBox 188">
                    <a:extLst>
                      <a:ext uri="{FF2B5EF4-FFF2-40B4-BE49-F238E27FC236}">
                        <a16:creationId xmlns:a16="http://schemas.microsoft.com/office/drawing/2014/main" id="{AEFB1D0F-C186-87E1-2133-FFFF906F1D9F}"/>
                      </a:ext>
                    </a:extLst>
                  </p:cNvPr>
                  <p:cNvSpPr txBox="1"/>
                  <p:nvPr/>
                </p:nvSpPr>
                <p:spPr>
                  <a:xfrm>
                    <a:off x="5188624" y="3326063"/>
                    <a:ext cx="637920" cy="24571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US" altLang="ko-KR" sz="1000" dirty="0">
                        <a:solidFill>
                          <a:srgbClr val="7983D7"/>
                        </a:solidFill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C</a:t>
                    </a:r>
                    <a:r>
                      <a:rPr lang="ko-KR" altLang="en-US" sz="1000" dirty="0">
                        <a:solidFill>
                          <a:srgbClr val="7983D7"/>
                        </a:solidFill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역</a:t>
                    </a:r>
                  </a:p>
                </p:txBody>
              </p:sp>
              <p:sp>
                <p:nvSpPr>
                  <p:cNvPr id="190" name="TextBox 189">
                    <a:extLst>
                      <a:ext uri="{FF2B5EF4-FFF2-40B4-BE49-F238E27FC236}">
                        <a16:creationId xmlns:a16="http://schemas.microsoft.com/office/drawing/2014/main" id="{DB40DE95-3D40-8AEC-D224-ADC6C1385F69}"/>
                      </a:ext>
                    </a:extLst>
                  </p:cNvPr>
                  <p:cNvSpPr txBox="1"/>
                  <p:nvPr/>
                </p:nvSpPr>
                <p:spPr>
                  <a:xfrm>
                    <a:off x="5187710" y="3512143"/>
                    <a:ext cx="637920" cy="24571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US" altLang="ko-KR" sz="1000" dirty="0">
                        <a:solidFill>
                          <a:srgbClr val="7983D7"/>
                        </a:solidFill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D</a:t>
                    </a:r>
                    <a:r>
                      <a:rPr lang="ko-KR" altLang="en-US" sz="1000" dirty="0">
                        <a:solidFill>
                          <a:srgbClr val="7983D7"/>
                        </a:solidFill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역</a:t>
                    </a:r>
                  </a:p>
                </p:txBody>
              </p:sp>
              <p:sp>
                <p:nvSpPr>
                  <p:cNvPr id="191" name="TextBox 190">
                    <a:extLst>
                      <a:ext uri="{FF2B5EF4-FFF2-40B4-BE49-F238E27FC236}">
                        <a16:creationId xmlns:a16="http://schemas.microsoft.com/office/drawing/2014/main" id="{AF625AEC-8F5B-1EBE-69D0-64A633C94FAC}"/>
                      </a:ext>
                    </a:extLst>
                  </p:cNvPr>
                  <p:cNvSpPr txBox="1"/>
                  <p:nvPr/>
                </p:nvSpPr>
                <p:spPr>
                  <a:xfrm>
                    <a:off x="5190629" y="3689064"/>
                    <a:ext cx="637920" cy="24571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US" altLang="ko-KR" sz="1000" dirty="0">
                        <a:solidFill>
                          <a:srgbClr val="7983D7"/>
                        </a:solidFill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E</a:t>
                    </a:r>
                    <a:r>
                      <a:rPr lang="ko-KR" altLang="en-US" sz="1000" dirty="0">
                        <a:solidFill>
                          <a:srgbClr val="7983D7"/>
                        </a:solidFill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역</a:t>
                    </a:r>
                  </a:p>
                </p:txBody>
              </p:sp>
              <p:sp>
                <p:nvSpPr>
                  <p:cNvPr id="4096" name="TextBox 4095">
                    <a:extLst>
                      <a:ext uri="{FF2B5EF4-FFF2-40B4-BE49-F238E27FC236}">
                        <a16:creationId xmlns:a16="http://schemas.microsoft.com/office/drawing/2014/main" id="{A2437D03-4B1F-4166-BF43-45F75E927898}"/>
                      </a:ext>
                    </a:extLst>
                  </p:cNvPr>
                  <p:cNvSpPr txBox="1"/>
                  <p:nvPr/>
                </p:nvSpPr>
                <p:spPr>
                  <a:xfrm>
                    <a:off x="5187454" y="3867054"/>
                    <a:ext cx="637920" cy="24571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US" altLang="ko-KR" sz="1000" dirty="0">
                        <a:solidFill>
                          <a:srgbClr val="7983D7"/>
                        </a:solidFill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F</a:t>
                    </a:r>
                    <a:r>
                      <a:rPr lang="ko-KR" altLang="en-US" sz="1000" dirty="0">
                        <a:solidFill>
                          <a:srgbClr val="7983D7"/>
                        </a:solidFill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역</a:t>
                    </a:r>
                  </a:p>
                </p:txBody>
              </p:sp>
            </p:grpSp>
            <p:grpSp>
              <p:nvGrpSpPr>
                <p:cNvPr id="4154" name="그룹 4153">
                  <a:extLst>
                    <a:ext uri="{FF2B5EF4-FFF2-40B4-BE49-F238E27FC236}">
                      <a16:creationId xmlns:a16="http://schemas.microsoft.com/office/drawing/2014/main" id="{EA14227E-6B94-483D-D476-6515835D203C}"/>
                    </a:ext>
                  </a:extLst>
                </p:cNvPr>
                <p:cNvGrpSpPr/>
                <p:nvPr/>
              </p:nvGrpSpPr>
              <p:grpSpPr>
                <a:xfrm>
                  <a:off x="4878837" y="5030796"/>
                  <a:ext cx="1424032" cy="611351"/>
                  <a:chOff x="4832070" y="4088004"/>
                  <a:chExt cx="1424032" cy="611351"/>
                </a:xfrm>
              </p:grpSpPr>
              <p:sp>
                <p:nvSpPr>
                  <p:cNvPr id="4102" name="Oval 161">
                    <a:extLst>
                      <a:ext uri="{FF2B5EF4-FFF2-40B4-BE49-F238E27FC236}">
                        <a16:creationId xmlns:a16="http://schemas.microsoft.com/office/drawing/2014/main" id="{39092016-B1AA-114A-8C9E-7E41C608D379}"/>
                      </a:ext>
                    </a:extLst>
                  </p:cNvPr>
                  <p:cNvSpPr/>
                  <p:nvPr/>
                </p:nvSpPr>
                <p:spPr>
                  <a:xfrm>
                    <a:off x="4945156" y="4189754"/>
                    <a:ext cx="385180" cy="373269"/>
                  </a:xfrm>
                  <a:prstGeom prst="ellipse">
                    <a:avLst/>
                  </a:prstGeom>
                  <a:gradFill>
                    <a:gsLst>
                      <a:gs pos="100000">
                        <a:srgbClr val="4757B8"/>
                      </a:gs>
                      <a:gs pos="38000">
                        <a:srgbClr val="7983D7"/>
                      </a:gs>
                    </a:gsLst>
                    <a:lin ang="8100000" scaled="1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pic>
                <p:nvPicPr>
                  <p:cNvPr id="4126" name="Picture 30" descr="Check Icon 1346104">
                    <a:extLst>
                      <a:ext uri="{FF2B5EF4-FFF2-40B4-BE49-F238E27FC236}">
                        <a16:creationId xmlns:a16="http://schemas.microsoft.com/office/drawing/2014/main" id="{C54C5F60-A41D-5561-F6B9-3AC251E9CA0F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9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832070" y="4088004"/>
                    <a:ext cx="611351" cy="611351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4123" name="TextBox 4122">
                    <a:extLst>
                      <a:ext uri="{FF2B5EF4-FFF2-40B4-BE49-F238E27FC236}">
                        <a16:creationId xmlns:a16="http://schemas.microsoft.com/office/drawing/2014/main" id="{422FAC32-0FBF-B3EB-E514-F264EFE56DE1}"/>
                      </a:ext>
                    </a:extLst>
                  </p:cNvPr>
                  <p:cNvSpPr txBox="1"/>
                  <p:nvPr/>
                </p:nvSpPr>
                <p:spPr>
                  <a:xfrm>
                    <a:off x="5331522" y="4216321"/>
                    <a:ext cx="924580" cy="30777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US" altLang="ko-KR" sz="1400" dirty="0">
                        <a:solidFill>
                          <a:srgbClr val="7983D7"/>
                        </a:solidFill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G</a:t>
                    </a:r>
                    <a:r>
                      <a:rPr lang="ko-KR" altLang="en-US" sz="1400" dirty="0">
                        <a:solidFill>
                          <a:srgbClr val="7983D7"/>
                        </a:solidFill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역 하차</a:t>
                    </a:r>
                    <a:endParaRPr lang="ko-KR" altLang="en-US" sz="900" dirty="0">
                      <a:solidFill>
                        <a:srgbClr val="7983D7"/>
                      </a:solidFill>
                      <a:latin typeface="HY견고딕" panose="02030600000101010101" pitchFamily="18" charset="-127"/>
                      <a:ea typeface="HY견고딕" panose="02030600000101010101" pitchFamily="18" charset="-127"/>
                    </a:endParaRPr>
                  </a:p>
                </p:txBody>
              </p:sp>
            </p:grpSp>
          </p:grpSp>
          <p:grpSp>
            <p:nvGrpSpPr>
              <p:cNvPr id="4149" name="그룹 4148">
                <a:extLst>
                  <a:ext uri="{FF2B5EF4-FFF2-40B4-BE49-F238E27FC236}">
                    <a16:creationId xmlns:a16="http://schemas.microsoft.com/office/drawing/2014/main" id="{DF0EB326-8E13-3A1B-62DE-773474D7F616}"/>
                  </a:ext>
                </a:extLst>
              </p:cNvPr>
              <p:cNvGrpSpPr/>
              <p:nvPr/>
            </p:nvGrpSpPr>
            <p:grpSpPr>
              <a:xfrm>
                <a:off x="4777372" y="1428332"/>
                <a:ext cx="3037270" cy="1307824"/>
                <a:chOff x="4798310" y="1293910"/>
                <a:chExt cx="3037270" cy="1307824"/>
              </a:xfrm>
            </p:grpSpPr>
            <p:grpSp>
              <p:nvGrpSpPr>
                <p:cNvPr id="4097" name="그룹 4096">
                  <a:extLst>
                    <a:ext uri="{FF2B5EF4-FFF2-40B4-BE49-F238E27FC236}">
                      <a16:creationId xmlns:a16="http://schemas.microsoft.com/office/drawing/2014/main" id="{8D28A9B7-FE9C-842B-C5AA-D4A0909C98EF}"/>
                    </a:ext>
                  </a:extLst>
                </p:cNvPr>
                <p:cNvGrpSpPr/>
                <p:nvPr/>
              </p:nvGrpSpPr>
              <p:grpSpPr>
                <a:xfrm>
                  <a:off x="4826252" y="1293910"/>
                  <a:ext cx="2419182" cy="1242913"/>
                  <a:chOff x="4826252" y="1152674"/>
                  <a:chExt cx="2419182" cy="1242913"/>
                </a:xfrm>
              </p:grpSpPr>
              <p:grpSp>
                <p:nvGrpSpPr>
                  <p:cNvPr id="160" name="그룹 159">
                    <a:extLst>
                      <a:ext uri="{FF2B5EF4-FFF2-40B4-BE49-F238E27FC236}">
                        <a16:creationId xmlns:a16="http://schemas.microsoft.com/office/drawing/2014/main" id="{3C45AA05-F82A-7536-6666-309C0ECAB0DF}"/>
                      </a:ext>
                    </a:extLst>
                  </p:cNvPr>
                  <p:cNvGrpSpPr/>
                  <p:nvPr/>
                </p:nvGrpSpPr>
                <p:grpSpPr>
                  <a:xfrm>
                    <a:off x="4826252" y="1152674"/>
                    <a:ext cx="2419182" cy="1242913"/>
                    <a:chOff x="7830070" y="1249196"/>
                    <a:chExt cx="2419182" cy="1242913"/>
                  </a:xfrm>
                </p:grpSpPr>
                <p:sp>
                  <p:nvSpPr>
                    <p:cNvPr id="146" name="Rectangle: Rounded Corners 158">
                      <a:extLst>
                        <a:ext uri="{FF2B5EF4-FFF2-40B4-BE49-F238E27FC236}">
                          <a16:creationId xmlns:a16="http://schemas.microsoft.com/office/drawing/2014/main" id="{4954B5A6-1636-DD4F-0B8A-642C4E1B57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830070" y="1249196"/>
                      <a:ext cx="2419182" cy="1242913"/>
                    </a:xfrm>
                    <a:prstGeom prst="roundRect">
                      <a:avLst>
                        <a:gd name="adj" fmla="val 7098"/>
                      </a:avLst>
                    </a:prstGeom>
                    <a:solidFill>
                      <a:schemeClr val="bg1"/>
                    </a:solidFill>
                    <a:ln>
                      <a:noFill/>
                    </a:ln>
                    <a:effectLst>
                      <a:outerShdw blurRad="50800" dist="38100" dir="5400000" algn="t" rotWithShape="0">
                        <a:srgbClr val="7983D7">
                          <a:alpha val="40000"/>
                        </a:srgb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147" name="Oval 161">
                      <a:extLst>
                        <a:ext uri="{FF2B5EF4-FFF2-40B4-BE49-F238E27FC236}">
                          <a16:creationId xmlns:a16="http://schemas.microsoft.com/office/drawing/2014/main" id="{B6440C90-A45C-883B-04B8-F64680F0C1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878089" y="1296194"/>
                      <a:ext cx="239978" cy="232557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148" name="십자형 147">
                      <a:extLst>
                        <a:ext uri="{FF2B5EF4-FFF2-40B4-BE49-F238E27FC236}">
                          <a16:creationId xmlns:a16="http://schemas.microsoft.com/office/drawing/2014/main" id="{1C020054-4135-CD63-63E5-DB0657ED2706}"/>
                        </a:ext>
                      </a:extLst>
                    </p:cNvPr>
                    <p:cNvSpPr/>
                    <p:nvPr/>
                  </p:nvSpPr>
                  <p:spPr>
                    <a:xfrm rot="18900000" flipH="1">
                      <a:off x="7933766" y="1344132"/>
                      <a:ext cx="128625" cy="132729"/>
                    </a:xfrm>
                    <a:prstGeom prst="plus">
                      <a:avLst>
                        <a:gd name="adj" fmla="val 44823"/>
                      </a:avLst>
                    </a:prstGeom>
                    <a:solidFill>
                      <a:schemeClr val="bg1"/>
                    </a:solidFill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ko-KR" altLang="en-US" dirty="0"/>
                    </a:p>
                  </p:txBody>
                </p:sp>
              </p:grpSp>
              <p:sp>
                <p:nvSpPr>
                  <p:cNvPr id="19" name="Rectangle: Top Corners Rounded 149">
                    <a:extLst>
                      <a:ext uri="{FF2B5EF4-FFF2-40B4-BE49-F238E27FC236}">
                        <a16:creationId xmlns:a16="http://schemas.microsoft.com/office/drawing/2014/main" id="{7021C156-F8BC-906E-F13C-3087BF25E7EB}"/>
                      </a:ext>
                    </a:extLst>
                  </p:cNvPr>
                  <p:cNvSpPr/>
                  <p:nvPr/>
                </p:nvSpPr>
                <p:spPr>
                  <a:xfrm>
                    <a:off x="4919855" y="2051400"/>
                    <a:ext cx="2254981" cy="280813"/>
                  </a:xfrm>
                  <a:prstGeom prst="round2SameRect">
                    <a:avLst>
                      <a:gd name="adj1" fmla="val 16667"/>
                      <a:gd name="adj2" fmla="val 20175"/>
                    </a:avLst>
                  </a:prstGeom>
                  <a:gradFill>
                    <a:gsLst>
                      <a:gs pos="100000">
                        <a:srgbClr val="4757B8"/>
                      </a:gs>
                      <a:gs pos="38000">
                        <a:srgbClr val="7983D7"/>
                      </a:gs>
                    </a:gsLst>
                    <a:lin ang="8100000" scaled="1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176" name="TextBox 175">
                    <a:extLst>
                      <a:ext uri="{FF2B5EF4-FFF2-40B4-BE49-F238E27FC236}">
                        <a16:creationId xmlns:a16="http://schemas.microsoft.com/office/drawing/2014/main" id="{F19BC728-D097-3396-63EE-E629E62624CA}"/>
                      </a:ext>
                    </a:extLst>
                  </p:cNvPr>
                  <p:cNvSpPr txBox="1"/>
                  <p:nvPr/>
                </p:nvSpPr>
                <p:spPr>
                  <a:xfrm>
                    <a:off x="4930467" y="2053666"/>
                    <a:ext cx="1691614" cy="26161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ko-KR" altLang="en-US" sz="1050" dirty="0">
                        <a:solidFill>
                          <a:schemeClr val="bg1"/>
                        </a:solidFill>
                        <a:latin typeface="HY견고딕" panose="02030600000101010101" pitchFamily="18" charset="-127"/>
                        <a:ea typeface="HY견고딕" panose="02030600000101010101" pitchFamily="18" charset="-127"/>
                      </a:rPr>
                      <a:t>대체 교통수단 </a:t>
                    </a:r>
                  </a:p>
                </p:txBody>
              </p:sp>
            </p:grpSp>
            <p:sp>
              <p:nvSpPr>
                <p:cNvPr id="175" name="TextBox 174">
                  <a:extLst>
                    <a:ext uri="{FF2B5EF4-FFF2-40B4-BE49-F238E27FC236}">
                      <a16:creationId xmlns:a16="http://schemas.microsoft.com/office/drawing/2014/main" id="{F2B3514C-35AE-F15C-4602-197C1AC665C6}"/>
                    </a:ext>
                  </a:extLst>
                </p:cNvPr>
                <p:cNvSpPr txBox="1"/>
                <p:nvPr/>
              </p:nvSpPr>
              <p:spPr>
                <a:xfrm>
                  <a:off x="4798310" y="1636495"/>
                  <a:ext cx="3037270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ko-KR" altLang="en-US" sz="1200" dirty="0">
                      <a:solidFill>
                        <a:srgbClr val="7983D7"/>
                      </a:solidFill>
                      <a:latin typeface="HY견고딕" panose="02030600000101010101" pitchFamily="18" charset="-127"/>
                      <a:ea typeface="HY견고딕" panose="02030600000101010101" pitchFamily="18" charset="-127"/>
                    </a:rPr>
                    <a:t>탑승 예정 차량이 사고</a:t>
                  </a:r>
                  <a:r>
                    <a:rPr lang="en-US" altLang="ko-KR" sz="1200" dirty="0">
                      <a:solidFill>
                        <a:srgbClr val="7983D7"/>
                      </a:solidFill>
                      <a:latin typeface="HY견고딕" panose="02030600000101010101" pitchFamily="18" charset="-127"/>
                      <a:ea typeface="HY견고딕" panose="02030600000101010101" pitchFamily="18" charset="-127"/>
                    </a:rPr>
                    <a:t>(</a:t>
                  </a:r>
                  <a:r>
                    <a:rPr lang="ko-KR" altLang="en-US" sz="1200" dirty="0">
                      <a:solidFill>
                        <a:srgbClr val="7983D7"/>
                      </a:solidFill>
                      <a:latin typeface="HY견고딕" panose="02030600000101010101" pitchFamily="18" charset="-127"/>
                      <a:ea typeface="HY견고딕" panose="02030600000101010101" pitchFamily="18" charset="-127"/>
                    </a:rPr>
                    <a:t>으</a:t>
                  </a:r>
                  <a:r>
                    <a:rPr lang="en-US" altLang="ko-KR" sz="1200" dirty="0">
                      <a:solidFill>
                        <a:srgbClr val="7983D7"/>
                      </a:solidFill>
                      <a:latin typeface="HY견고딕" panose="02030600000101010101" pitchFamily="18" charset="-127"/>
                      <a:ea typeface="HY견고딕" panose="02030600000101010101" pitchFamily="18" charset="-127"/>
                    </a:rPr>
                    <a:t>)</a:t>
                  </a:r>
                  <a:r>
                    <a:rPr lang="ko-KR" altLang="en-US" sz="1200" dirty="0">
                      <a:solidFill>
                        <a:srgbClr val="7983D7"/>
                      </a:solidFill>
                      <a:latin typeface="HY견고딕" panose="02030600000101010101" pitchFamily="18" charset="-127"/>
                      <a:ea typeface="HY견고딕" panose="02030600000101010101" pitchFamily="18" charset="-127"/>
                    </a:rPr>
                    <a:t>로 인해</a:t>
                  </a:r>
                  <a:endParaRPr lang="en-US" altLang="ko-KR" sz="1200" dirty="0">
                    <a:solidFill>
                      <a:srgbClr val="7983D7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endParaRPr>
                </a:p>
                <a:p>
                  <a:r>
                    <a:rPr lang="ko-KR" altLang="en-US" sz="1200" dirty="0">
                      <a:solidFill>
                        <a:srgbClr val="7983D7"/>
                      </a:solidFill>
                      <a:latin typeface="HY견고딕" panose="02030600000101010101" pitchFamily="18" charset="-127"/>
                      <a:ea typeface="HY견고딕" panose="02030600000101010101" pitchFamily="18" charset="-127"/>
                    </a:rPr>
                    <a:t>운행이 지연되었습니다</a:t>
                  </a:r>
                  <a:r>
                    <a:rPr lang="en-US" altLang="ko-KR" sz="1200" dirty="0">
                      <a:solidFill>
                        <a:srgbClr val="7983D7"/>
                      </a:solidFill>
                      <a:latin typeface="HY견고딕" panose="02030600000101010101" pitchFamily="18" charset="-127"/>
                      <a:ea typeface="HY견고딕" panose="02030600000101010101" pitchFamily="18" charset="-127"/>
                    </a:rPr>
                    <a:t>.</a:t>
                  </a:r>
                  <a:endParaRPr lang="ko-KR" altLang="en-US" sz="1200" dirty="0">
                    <a:solidFill>
                      <a:srgbClr val="7983D7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endParaRPr>
                </a:p>
              </p:txBody>
            </p:sp>
            <p:sp>
              <p:nvSpPr>
                <p:cNvPr id="4138" name="화살표: 오른쪽 4137">
                  <a:extLst>
                    <a:ext uri="{FF2B5EF4-FFF2-40B4-BE49-F238E27FC236}">
                      <a16:creationId xmlns:a16="http://schemas.microsoft.com/office/drawing/2014/main" id="{18BDB29F-88D1-BC7F-2816-B00CF247F604}"/>
                    </a:ext>
                  </a:extLst>
                </p:cNvPr>
                <p:cNvSpPr/>
                <p:nvPr/>
              </p:nvSpPr>
              <p:spPr>
                <a:xfrm>
                  <a:off x="5982360" y="2250361"/>
                  <a:ext cx="241220" cy="165711"/>
                </a:xfrm>
                <a:prstGeom prst="rightArrow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/>
                </a:p>
              </p:txBody>
            </p:sp>
            <p:pic>
              <p:nvPicPr>
                <p:cNvPr id="4139" name="Picture 32" descr="Bus Icon 5328933">
                  <a:extLst>
                    <a:ext uri="{FF2B5EF4-FFF2-40B4-BE49-F238E27FC236}">
                      <a16:creationId xmlns:a16="http://schemas.microsoft.com/office/drawing/2014/main" id="{B9B49033-E74A-A23C-2EF4-A9DCE604480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274189" y="2086687"/>
                  <a:ext cx="515047" cy="51504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4140" name="TextBox 4139">
                  <a:extLst>
                    <a:ext uri="{FF2B5EF4-FFF2-40B4-BE49-F238E27FC236}">
                      <a16:creationId xmlns:a16="http://schemas.microsoft.com/office/drawing/2014/main" id="{A8786EFE-8428-F54C-5FA2-6C3633D4DA1E}"/>
                    </a:ext>
                  </a:extLst>
                </p:cNvPr>
                <p:cNvSpPr txBox="1"/>
                <p:nvPr/>
              </p:nvSpPr>
              <p:spPr>
                <a:xfrm>
                  <a:off x="6638674" y="2202596"/>
                  <a:ext cx="442391" cy="25391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ko-KR" sz="1050" dirty="0">
                      <a:solidFill>
                        <a:schemeClr val="bg1"/>
                      </a:solidFill>
                      <a:latin typeface="HY견고딕" panose="02030600000101010101" pitchFamily="18" charset="-127"/>
                      <a:ea typeface="HY견고딕" panose="02030600000101010101" pitchFamily="18" charset="-127"/>
                    </a:rPr>
                    <a:t>12</a:t>
                  </a:r>
                  <a:endParaRPr lang="ko-KR" altLang="en-US" sz="1050" dirty="0">
                    <a:solidFill>
                      <a:schemeClr val="bg1"/>
                    </a:solidFill>
                    <a:latin typeface="HY견고딕" panose="02030600000101010101" pitchFamily="18" charset="-127"/>
                    <a:ea typeface="HY견고딕" panose="02030600000101010101" pitchFamily="18" charset="-127"/>
                  </a:endParaRPr>
                </a:p>
              </p:txBody>
            </p:sp>
          </p:grpSp>
        </p:grpSp>
        <p:pic>
          <p:nvPicPr>
            <p:cNvPr id="42" name="Picture 147">
              <a:extLst>
                <a:ext uri="{FF2B5EF4-FFF2-40B4-BE49-F238E27FC236}">
                  <a16:creationId xmlns:a16="http://schemas.microsoft.com/office/drawing/2014/main" id="{C581F29B-2F91-F0B7-DA60-A0AB7A7D46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354610" y="1538611"/>
              <a:ext cx="3931651" cy="5764687"/>
            </a:xfrm>
            <a:prstGeom prst="rect">
              <a:avLst/>
            </a:prstGeom>
          </p:spPr>
        </p:pic>
      </p:grpSp>
      <p:grpSp>
        <p:nvGrpSpPr>
          <p:cNvPr id="4161" name="Group 85">
            <a:extLst>
              <a:ext uri="{FF2B5EF4-FFF2-40B4-BE49-F238E27FC236}">
                <a16:creationId xmlns:a16="http://schemas.microsoft.com/office/drawing/2014/main" id="{E00CA1F9-EF17-0B1B-A517-461320382122}"/>
              </a:ext>
            </a:extLst>
          </p:cNvPr>
          <p:cNvGrpSpPr/>
          <p:nvPr/>
        </p:nvGrpSpPr>
        <p:grpSpPr>
          <a:xfrm>
            <a:off x="359426" y="250040"/>
            <a:ext cx="622326" cy="131948"/>
            <a:chOff x="692712" y="619597"/>
            <a:chExt cx="622326" cy="131948"/>
          </a:xfrm>
        </p:grpSpPr>
        <p:sp>
          <p:nvSpPr>
            <p:cNvPr id="4162" name="Oval 82">
              <a:extLst>
                <a:ext uri="{FF2B5EF4-FFF2-40B4-BE49-F238E27FC236}">
                  <a16:creationId xmlns:a16="http://schemas.microsoft.com/office/drawing/2014/main" id="{A52B15F1-CCBF-C680-2D9D-79D33F59B7FA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63" name="Oval 83">
              <a:extLst>
                <a:ext uri="{FF2B5EF4-FFF2-40B4-BE49-F238E27FC236}">
                  <a16:creationId xmlns:a16="http://schemas.microsoft.com/office/drawing/2014/main" id="{E44F45D2-87AE-7C35-961E-DF575B52123D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64" name="Oval 84">
              <a:extLst>
                <a:ext uri="{FF2B5EF4-FFF2-40B4-BE49-F238E27FC236}">
                  <a16:creationId xmlns:a16="http://schemas.microsoft.com/office/drawing/2014/main" id="{84DE4004-2CF6-2892-68D2-578924FE2AFD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44183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41" name="Picture 19" descr="Photo Map - Apps on Google Play">
            <a:extLst>
              <a:ext uri="{FF2B5EF4-FFF2-40B4-BE49-F238E27FC236}">
                <a16:creationId xmlns:a16="http://schemas.microsoft.com/office/drawing/2014/main" id="{7F0DF1DE-61E5-9814-3715-AF354EE754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37" t="13411" r="3689"/>
          <a:stretch/>
        </p:blipFill>
        <p:spPr bwMode="auto">
          <a:xfrm>
            <a:off x="-8826" y="21531"/>
            <a:ext cx="12192001" cy="3382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Rectangle: Rounded Corners 85">
            <a:extLst>
              <a:ext uri="{FF2B5EF4-FFF2-40B4-BE49-F238E27FC236}">
                <a16:creationId xmlns:a16="http://schemas.microsoft.com/office/drawing/2014/main" id="{901A09E3-D422-8347-20A3-D1975127A805}"/>
              </a:ext>
            </a:extLst>
          </p:cNvPr>
          <p:cNvSpPr/>
          <p:nvPr/>
        </p:nvSpPr>
        <p:spPr>
          <a:xfrm>
            <a:off x="8002092" y="3441433"/>
            <a:ext cx="3553729" cy="2723611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2B6FF3-33C5-4942-843C-768D5F9A40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81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B2B6FF3-33C5-4942-843C-768D5F9A40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68E15090-2B82-4A49-B4B2-8F6B1510051D}"/>
              </a:ext>
            </a:extLst>
          </p:cNvPr>
          <p:cNvSpPr/>
          <p:nvPr/>
        </p:nvSpPr>
        <p:spPr>
          <a:xfrm>
            <a:off x="522513" y="3429001"/>
            <a:ext cx="3553729" cy="2723611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2" name="Rectangle: Rounded Corners 6">
            <a:extLst>
              <a:ext uri="{FF2B5EF4-FFF2-40B4-BE49-F238E27FC236}">
                <a16:creationId xmlns:a16="http://schemas.microsoft.com/office/drawing/2014/main" id="{1C2543DE-C0D9-A8D2-D8C3-F726A6BB375F}"/>
              </a:ext>
            </a:extLst>
          </p:cNvPr>
          <p:cNvSpPr/>
          <p:nvPr/>
        </p:nvSpPr>
        <p:spPr>
          <a:xfrm>
            <a:off x="620494" y="5483484"/>
            <a:ext cx="1793649" cy="579725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카카오맵</a:t>
            </a:r>
            <a:endParaRPr 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86983144-AFC2-4A1F-A753-5F3243CEA54C}"/>
              </a:ext>
            </a:extLst>
          </p:cNvPr>
          <p:cNvSpPr/>
          <p:nvPr/>
        </p:nvSpPr>
        <p:spPr>
          <a:xfrm>
            <a:off x="4247845" y="3429001"/>
            <a:ext cx="3553729" cy="2723611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4D780B4-F0CA-4EEB-BBDB-DB2A65B8D07D}"/>
              </a:ext>
            </a:extLst>
          </p:cNvPr>
          <p:cNvSpPr/>
          <p:nvPr/>
        </p:nvSpPr>
        <p:spPr>
          <a:xfrm>
            <a:off x="-8826" y="-612"/>
            <a:ext cx="12192001" cy="3429000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16CCF43-D930-4073-9401-6B6FE6351492}"/>
              </a:ext>
            </a:extLst>
          </p:cNvPr>
          <p:cNvSpPr/>
          <p:nvPr/>
        </p:nvSpPr>
        <p:spPr>
          <a:xfrm>
            <a:off x="4411762" y="1929218"/>
            <a:ext cx="1590478" cy="3371137"/>
          </a:xfrm>
          <a:prstGeom prst="roundRect">
            <a:avLst>
              <a:gd name="adj" fmla="val 7098"/>
            </a:avLst>
          </a:prstGeom>
          <a:solidFill>
            <a:srgbClr val="EB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5F6FAA6D-899E-4307-B990-458CECD8FF10}"/>
              </a:ext>
            </a:extLst>
          </p:cNvPr>
          <p:cNvSpPr/>
          <p:nvPr/>
        </p:nvSpPr>
        <p:spPr>
          <a:xfrm>
            <a:off x="4411762" y="1929217"/>
            <a:ext cx="1590478" cy="674228"/>
          </a:xfrm>
          <a:prstGeom prst="round2SameRect">
            <a:avLst>
              <a:gd name="adj1" fmla="val 16667"/>
              <a:gd name="adj2" fmla="val 20175"/>
            </a:avLst>
          </a:prstGeom>
          <a:gradFill>
            <a:gsLst>
              <a:gs pos="100000">
                <a:srgbClr val="4757B8"/>
              </a:gs>
              <a:gs pos="38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367F8D-7F07-4E36-B9D9-7D4F01DA8DCD}"/>
              </a:ext>
            </a:extLst>
          </p:cNvPr>
          <p:cNvGrpSpPr/>
          <p:nvPr/>
        </p:nvGrpSpPr>
        <p:grpSpPr>
          <a:xfrm>
            <a:off x="5683563" y="2124389"/>
            <a:ext cx="212452" cy="212452"/>
            <a:chOff x="9563472" y="923925"/>
            <a:chExt cx="342156" cy="342156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5539A99-4494-4507-8DBE-7B3F2B2AC546}"/>
                </a:ext>
              </a:extLst>
            </p:cNvPr>
            <p:cNvSpPr/>
            <p:nvPr/>
          </p:nvSpPr>
          <p:spPr>
            <a:xfrm>
              <a:off x="9563472" y="923925"/>
              <a:ext cx="342156" cy="34215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49" name="Freeform 26">
              <a:extLst>
                <a:ext uri="{FF2B5EF4-FFF2-40B4-BE49-F238E27FC236}">
                  <a16:creationId xmlns:a16="http://schemas.microsoft.com/office/drawing/2014/main" id="{58BCC316-73FB-4B8D-B74C-D59E3F0148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02155" y="962025"/>
              <a:ext cx="264790" cy="265956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14 w 96"/>
                <a:gd name="T5" fmla="*/ 82 h 96"/>
                <a:gd name="T6" fmla="*/ 14 w 96"/>
                <a:gd name="T7" fmla="*/ 82 h 96"/>
                <a:gd name="T8" fmla="*/ 48 w 96"/>
                <a:gd name="T9" fmla="*/ 96 h 96"/>
                <a:gd name="T10" fmla="*/ 82 w 96"/>
                <a:gd name="T11" fmla="*/ 82 h 96"/>
                <a:gd name="T12" fmla="*/ 96 w 96"/>
                <a:gd name="T13" fmla="*/ 48 h 96"/>
                <a:gd name="T14" fmla="*/ 48 w 96"/>
                <a:gd name="T15" fmla="*/ 0 h 96"/>
                <a:gd name="T16" fmla="*/ 80 w 96"/>
                <a:gd name="T17" fmla="*/ 78 h 96"/>
                <a:gd name="T18" fmla="*/ 63 w 96"/>
                <a:gd name="T19" fmla="*/ 70 h 96"/>
                <a:gd name="T20" fmla="*/ 58 w 96"/>
                <a:gd name="T21" fmla="*/ 69 h 96"/>
                <a:gd name="T22" fmla="*/ 58 w 96"/>
                <a:gd name="T23" fmla="*/ 61 h 96"/>
                <a:gd name="T24" fmla="*/ 64 w 96"/>
                <a:gd name="T25" fmla="*/ 49 h 96"/>
                <a:gd name="T26" fmla="*/ 66 w 96"/>
                <a:gd name="T27" fmla="*/ 44 h 96"/>
                <a:gd name="T28" fmla="*/ 64 w 96"/>
                <a:gd name="T29" fmla="*/ 39 h 96"/>
                <a:gd name="T30" fmla="*/ 66 w 96"/>
                <a:gd name="T31" fmla="*/ 26 h 96"/>
                <a:gd name="T32" fmla="*/ 51 w 96"/>
                <a:gd name="T33" fmla="*/ 18 h 96"/>
                <a:gd name="T34" fmla="*/ 37 w 96"/>
                <a:gd name="T35" fmla="*/ 24 h 96"/>
                <a:gd name="T36" fmla="*/ 32 w 96"/>
                <a:gd name="T37" fmla="*/ 26 h 96"/>
                <a:gd name="T38" fmla="*/ 32 w 96"/>
                <a:gd name="T39" fmla="*/ 39 h 96"/>
                <a:gd name="T40" fmla="*/ 30 w 96"/>
                <a:gd name="T41" fmla="*/ 44 h 96"/>
                <a:gd name="T42" fmla="*/ 32 w 96"/>
                <a:gd name="T43" fmla="*/ 49 h 96"/>
                <a:gd name="T44" fmla="*/ 38 w 96"/>
                <a:gd name="T45" fmla="*/ 61 h 96"/>
                <a:gd name="T46" fmla="*/ 38 w 96"/>
                <a:gd name="T47" fmla="*/ 69 h 96"/>
                <a:gd name="T48" fmla="*/ 33 w 96"/>
                <a:gd name="T49" fmla="*/ 70 h 96"/>
                <a:gd name="T50" fmla="*/ 16 w 96"/>
                <a:gd name="T51" fmla="*/ 78 h 96"/>
                <a:gd name="T52" fmla="*/ 4 w 96"/>
                <a:gd name="T53" fmla="*/ 48 h 96"/>
                <a:gd name="T54" fmla="*/ 48 w 96"/>
                <a:gd name="T55" fmla="*/ 4 h 96"/>
                <a:gd name="T56" fmla="*/ 92 w 96"/>
                <a:gd name="T57" fmla="*/ 48 h 96"/>
                <a:gd name="T58" fmla="*/ 80 w 96"/>
                <a:gd name="T59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61"/>
                    <a:pt x="5" y="73"/>
                    <a:pt x="14" y="82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23" y="91"/>
                    <a:pt x="35" y="96"/>
                    <a:pt x="48" y="96"/>
                  </a:cubicBezTo>
                  <a:cubicBezTo>
                    <a:pt x="61" y="96"/>
                    <a:pt x="73" y="91"/>
                    <a:pt x="82" y="82"/>
                  </a:cubicBezTo>
                  <a:cubicBezTo>
                    <a:pt x="91" y="73"/>
                    <a:pt x="96" y="61"/>
                    <a:pt x="96" y="48"/>
                  </a:cubicBezTo>
                  <a:cubicBezTo>
                    <a:pt x="96" y="22"/>
                    <a:pt x="74" y="0"/>
                    <a:pt x="48" y="0"/>
                  </a:cubicBezTo>
                  <a:close/>
                  <a:moveTo>
                    <a:pt x="80" y="78"/>
                  </a:moveTo>
                  <a:cubicBezTo>
                    <a:pt x="76" y="75"/>
                    <a:pt x="70" y="73"/>
                    <a:pt x="63" y="70"/>
                  </a:cubicBezTo>
                  <a:cubicBezTo>
                    <a:pt x="61" y="70"/>
                    <a:pt x="60" y="69"/>
                    <a:pt x="58" y="69"/>
                  </a:cubicBezTo>
                  <a:cubicBezTo>
                    <a:pt x="58" y="61"/>
                    <a:pt x="58" y="61"/>
                    <a:pt x="58" y="61"/>
                  </a:cubicBezTo>
                  <a:cubicBezTo>
                    <a:pt x="60" y="60"/>
                    <a:pt x="64" y="57"/>
                    <a:pt x="64" y="49"/>
                  </a:cubicBezTo>
                  <a:cubicBezTo>
                    <a:pt x="66" y="49"/>
                    <a:pt x="66" y="47"/>
                    <a:pt x="66" y="44"/>
                  </a:cubicBezTo>
                  <a:cubicBezTo>
                    <a:pt x="66" y="42"/>
                    <a:pt x="66" y="40"/>
                    <a:pt x="64" y="39"/>
                  </a:cubicBezTo>
                  <a:cubicBezTo>
                    <a:pt x="65" y="36"/>
                    <a:pt x="67" y="30"/>
                    <a:pt x="66" y="26"/>
                  </a:cubicBezTo>
                  <a:cubicBezTo>
                    <a:pt x="65" y="20"/>
                    <a:pt x="57" y="18"/>
                    <a:pt x="51" y="18"/>
                  </a:cubicBezTo>
                  <a:cubicBezTo>
                    <a:pt x="46" y="18"/>
                    <a:pt x="39" y="20"/>
                    <a:pt x="37" y="24"/>
                  </a:cubicBezTo>
                  <a:cubicBezTo>
                    <a:pt x="34" y="24"/>
                    <a:pt x="32" y="25"/>
                    <a:pt x="32" y="26"/>
                  </a:cubicBezTo>
                  <a:cubicBezTo>
                    <a:pt x="29" y="29"/>
                    <a:pt x="31" y="35"/>
                    <a:pt x="32" y="39"/>
                  </a:cubicBezTo>
                  <a:cubicBezTo>
                    <a:pt x="30" y="40"/>
                    <a:pt x="30" y="42"/>
                    <a:pt x="30" y="44"/>
                  </a:cubicBezTo>
                  <a:cubicBezTo>
                    <a:pt x="30" y="47"/>
                    <a:pt x="30" y="49"/>
                    <a:pt x="32" y="49"/>
                  </a:cubicBezTo>
                  <a:cubicBezTo>
                    <a:pt x="32" y="57"/>
                    <a:pt x="36" y="60"/>
                    <a:pt x="38" y="61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6" y="69"/>
                    <a:pt x="35" y="70"/>
                    <a:pt x="33" y="70"/>
                  </a:cubicBezTo>
                  <a:cubicBezTo>
                    <a:pt x="27" y="73"/>
                    <a:pt x="20" y="75"/>
                    <a:pt x="16" y="78"/>
                  </a:cubicBezTo>
                  <a:cubicBezTo>
                    <a:pt x="8" y="70"/>
                    <a:pt x="4" y="59"/>
                    <a:pt x="4" y="48"/>
                  </a:cubicBezTo>
                  <a:cubicBezTo>
                    <a:pt x="4" y="24"/>
                    <a:pt x="24" y="4"/>
                    <a:pt x="48" y="4"/>
                  </a:cubicBezTo>
                  <a:cubicBezTo>
                    <a:pt x="72" y="4"/>
                    <a:pt x="92" y="24"/>
                    <a:pt x="92" y="48"/>
                  </a:cubicBezTo>
                  <a:cubicBezTo>
                    <a:pt x="92" y="59"/>
                    <a:pt x="88" y="70"/>
                    <a:pt x="80" y="78"/>
                  </a:cubicBezTo>
                  <a:close/>
                </a:path>
              </a:pathLst>
            </a:custGeom>
            <a:solidFill>
              <a:srgbClr val="7983D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200"/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91F70870-C1C2-41DC-8D50-41C7E5043527}"/>
              </a:ext>
            </a:extLst>
          </p:cNvPr>
          <p:cNvGrpSpPr/>
          <p:nvPr/>
        </p:nvGrpSpPr>
        <p:grpSpPr>
          <a:xfrm>
            <a:off x="8181647" y="1928056"/>
            <a:ext cx="1590478" cy="3371137"/>
            <a:chOff x="5220361" y="638174"/>
            <a:chExt cx="2561481" cy="5429250"/>
          </a:xfrm>
        </p:grpSpPr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4C57C026-B46D-43FB-8FE0-20292595DF3F}"/>
                </a:ext>
              </a:extLst>
            </p:cNvPr>
            <p:cNvSpPr/>
            <p:nvPr/>
          </p:nvSpPr>
          <p:spPr>
            <a:xfrm>
              <a:off x="5220361" y="638174"/>
              <a:ext cx="2561481" cy="5429250"/>
            </a:xfrm>
            <a:prstGeom prst="roundRect">
              <a:avLst>
                <a:gd name="adj" fmla="val 7098"/>
              </a:avLst>
            </a:prstGeom>
            <a:gradFill>
              <a:gsLst>
                <a:gs pos="100000">
                  <a:srgbClr val="4757B8"/>
                </a:gs>
                <a:gs pos="38000">
                  <a:srgbClr val="7983D7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C8D69BDE-0163-48B1-BDA8-804B2364DA68}"/>
                </a:ext>
              </a:extLst>
            </p:cNvPr>
            <p:cNvSpPr/>
            <p:nvPr/>
          </p:nvSpPr>
          <p:spPr>
            <a:xfrm>
              <a:off x="5220361" y="661507"/>
              <a:ext cx="2561481" cy="5405917"/>
            </a:xfrm>
            <a:custGeom>
              <a:avLst/>
              <a:gdLst>
                <a:gd name="connsiteX0" fmla="*/ 2463852 w 2561481"/>
                <a:gd name="connsiteY0" fmla="*/ 0 h 5405917"/>
                <a:gd name="connsiteX1" fmla="*/ 2508229 w 2561481"/>
                <a:gd name="connsiteY1" fmla="*/ 29919 h 5405917"/>
                <a:gd name="connsiteX2" fmla="*/ 2561481 w 2561481"/>
                <a:gd name="connsiteY2" fmla="*/ 158481 h 5405917"/>
                <a:gd name="connsiteX3" fmla="*/ 2561481 w 2561481"/>
                <a:gd name="connsiteY3" fmla="*/ 5224103 h 5405917"/>
                <a:gd name="connsiteX4" fmla="*/ 2379667 w 2561481"/>
                <a:gd name="connsiteY4" fmla="*/ 5405917 h 5405917"/>
                <a:gd name="connsiteX5" fmla="*/ 181814 w 2561481"/>
                <a:gd name="connsiteY5" fmla="*/ 5405917 h 5405917"/>
                <a:gd name="connsiteX6" fmla="*/ 0 w 2561481"/>
                <a:gd name="connsiteY6" fmla="*/ 5224103 h 5405917"/>
                <a:gd name="connsiteX7" fmla="*/ 0 w 2561481"/>
                <a:gd name="connsiteY7" fmla="*/ 5219587 h 5405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1481" h="5405917">
                  <a:moveTo>
                    <a:pt x="2463852" y="0"/>
                  </a:moveTo>
                  <a:lnTo>
                    <a:pt x="2508229" y="29919"/>
                  </a:lnTo>
                  <a:cubicBezTo>
                    <a:pt x="2541131" y="62821"/>
                    <a:pt x="2561481" y="108275"/>
                    <a:pt x="2561481" y="158481"/>
                  </a:cubicBezTo>
                  <a:lnTo>
                    <a:pt x="2561481" y="5224103"/>
                  </a:lnTo>
                  <a:cubicBezTo>
                    <a:pt x="2561481" y="5324516"/>
                    <a:pt x="2480080" y="5405917"/>
                    <a:pt x="2379667" y="5405917"/>
                  </a:cubicBezTo>
                  <a:lnTo>
                    <a:pt x="181814" y="5405917"/>
                  </a:lnTo>
                  <a:cubicBezTo>
                    <a:pt x="81401" y="5405917"/>
                    <a:pt x="0" y="5324516"/>
                    <a:pt x="0" y="5224103"/>
                  </a:cubicBezTo>
                  <a:lnTo>
                    <a:pt x="0" y="5219587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54" name="Oval 53">
            <a:extLst>
              <a:ext uri="{FF2B5EF4-FFF2-40B4-BE49-F238E27FC236}">
                <a16:creationId xmlns:a16="http://schemas.microsoft.com/office/drawing/2014/main" id="{43F06FAA-915A-421F-9061-A182D0402BD8}"/>
              </a:ext>
            </a:extLst>
          </p:cNvPr>
          <p:cNvSpPr/>
          <p:nvPr/>
        </p:nvSpPr>
        <p:spPr>
          <a:xfrm>
            <a:off x="8723069" y="3359808"/>
            <a:ext cx="507632" cy="507632"/>
          </a:xfrm>
          <a:prstGeom prst="ellipse">
            <a:avLst/>
          </a:prstGeom>
          <a:solidFill>
            <a:srgbClr val="EBECF9"/>
          </a:solidFill>
          <a:ln>
            <a:noFill/>
          </a:ln>
          <a:effectLst>
            <a:outerShdw blurRad="50800" dist="38100" dir="2700000" algn="tl" rotWithShape="0">
              <a:srgbClr val="4757B8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B6E3620-3239-4AB0-9497-436773ED49E8}"/>
              </a:ext>
            </a:extLst>
          </p:cNvPr>
          <p:cNvGrpSpPr/>
          <p:nvPr/>
        </p:nvGrpSpPr>
        <p:grpSpPr>
          <a:xfrm>
            <a:off x="8846998" y="3464714"/>
            <a:ext cx="259773" cy="297821"/>
            <a:chOff x="2692401" y="2509838"/>
            <a:chExt cx="314325" cy="360363"/>
          </a:xfrm>
          <a:gradFill>
            <a:gsLst>
              <a:gs pos="100000">
                <a:srgbClr val="4757B8"/>
              </a:gs>
              <a:gs pos="38000">
                <a:srgbClr val="7983D7"/>
              </a:gs>
            </a:gsLst>
            <a:lin ang="8100000" scaled="1"/>
          </a:gradFill>
          <a:effectLst>
            <a:outerShdw blurRad="12700" dist="127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56" name="Freeform 305">
              <a:extLst>
                <a:ext uri="{FF2B5EF4-FFF2-40B4-BE49-F238E27FC236}">
                  <a16:creationId xmlns:a16="http://schemas.microsoft.com/office/drawing/2014/main" id="{B731BCA4-7A0D-4403-A096-DB451E5A6C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501" y="2689225"/>
              <a:ext cx="22225" cy="60325"/>
            </a:xfrm>
            <a:custGeom>
              <a:avLst/>
              <a:gdLst>
                <a:gd name="T0" fmla="*/ 6 w 6"/>
                <a:gd name="T1" fmla="*/ 8 h 16"/>
                <a:gd name="T2" fmla="*/ 0 w 6"/>
                <a:gd name="T3" fmla="*/ 0 h 16"/>
                <a:gd name="T4" fmla="*/ 0 w 6"/>
                <a:gd name="T5" fmla="*/ 16 h 16"/>
                <a:gd name="T6" fmla="*/ 6 w 6"/>
                <a:gd name="T7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6">
                  <a:moveTo>
                    <a:pt x="6" y="8"/>
                  </a:moveTo>
                  <a:cubicBezTo>
                    <a:pt x="6" y="4"/>
                    <a:pt x="3" y="1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3" y="15"/>
                    <a:pt x="6" y="12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Freeform 306">
              <a:extLst>
                <a:ext uri="{FF2B5EF4-FFF2-40B4-BE49-F238E27FC236}">
                  <a16:creationId xmlns:a16="http://schemas.microsoft.com/office/drawing/2014/main" id="{B912F992-3D4B-4201-BBD8-AB0228FA09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401" y="2614613"/>
              <a:ext cx="22225" cy="60325"/>
            </a:xfrm>
            <a:custGeom>
              <a:avLst/>
              <a:gdLst>
                <a:gd name="T0" fmla="*/ 0 w 6"/>
                <a:gd name="T1" fmla="*/ 8 h 16"/>
                <a:gd name="T2" fmla="*/ 6 w 6"/>
                <a:gd name="T3" fmla="*/ 16 h 16"/>
                <a:gd name="T4" fmla="*/ 6 w 6"/>
                <a:gd name="T5" fmla="*/ 0 h 16"/>
                <a:gd name="T6" fmla="*/ 0 w 6"/>
                <a:gd name="T7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6">
                  <a:moveTo>
                    <a:pt x="0" y="8"/>
                  </a:moveTo>
                  <a:cubicBezTo>
                    <a:pt x="0" y="12"/>
                    <a:pt x="3" y="15"/>
                    <a:pt x="6" y="1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1"/>
                    <a:pt x="0" y="4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Freeform 307">
              <a:extLst>
                <a:ext uri="{FF2B5EF4-FFF2-40B4-BE49-F238E27FC236}">
                  <a16:creationId xmlns:a16="http://schemas.microsoft.com/office/drawing/2014/main" id="{C77472D9-FE06-4596-BC71-4418D1BCFE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2401" y="2509838"/>
              <a:ext cx="314325" cy="360363"/>
            </a:xfrm>
            <a:custGeom>
              <a:avLst/>
              <a:gdLst>
                <a:gd name="T0" fmla="*/ 83 w 84"/>
                <a:gd name="T1" fmla="*/ 2 h 96"/>
                <a:gd name="T2" fmla="*/ 81 w 84"/>
                <a:gd name="T3" fmla="*/ 2 h 96"/>
                <a:gd name="T4" fmla="*/ 62 w 84"/>
                <a:gd name="T5" fmla="*/ 10 h 96"/>
                <a:gd name="T6" fmla="*/ 44 w 84"/>
                <a:gd name="T7" fmla="*/ 1 h 96"/>
                <a:gd name="T8" fmla="*/ 40 w 84"/>
                <a:gd name="T9" fmla="*/ 1 h 96"/>
                <a:gd name="T10" fmla="*/ 22 w 84"/>
                <a:gd name="T11" fmla="*/ 10 h 96"/>
                <a:gd name="T12" fmla="*/ 3 w 84"/>
                <a:gd name="T13" fmla="*/ 2 h 96"/>
                <a:gd name="T14" fmla="*/ 1 w 84"/>
                <a:gd name="T15" fmla="*/ 2 h 96"/>
                <a:gd name="T16" fmla="*/ 0 w 84"/>
                <a:gd name="T17" fmla="*/ 4 h 96"/>
                <a:gd name="T18" fmla="*/ 0 w 84"/>
                <a:gd name="T19" fmla="*/ 63 h 96"/>
                <a:gd name="T20" fmla="*/ 0 w 84"/>
                <a:gd name="T21" fmla="*/ 64 h 96"/>
                <a:gd name="T22" fmla="*/ 41 w 84"/>
                <a:gd name="T23" fmla="*/ 96 h 96"/>
                <a:gd name="T24" fmla="*/ 42 w 84"/>
                <a:gd name="T25" fmla="*/ 96 h 96"/>
                <a:gd name="T26" fmla="*/ 43 w 84"/>
                <a:gd name="T27" fmla="*/ 96 h 96"/>
                <a:gd name="T28" fmla="*/ 84 w 84"/>
                <a:gd name="T29" fmla="*/ 64 h 96"/>
                <a:gd name="T30" fmla="*/ 84 w 84"/>
                <a:gd name="T31" fmla="*/ 63 h 96"/>
                <a:gd name="T32" fmla="*/ 84 w 84"/>
                <a:gd name="T33" fmla="*/ 4 h 96"/>
                <a:gd name="T34" fmla="*/ 83 w 84"/>
                <a:gd name="T35" fmla="*/ 2 h 96"/>
                <a:gd name="T36" fmla="*/ 54 w 84"/>
                <a:gd name="T37" fmla="*/ 56 h 96"/>
                <a:gd name="T38" fmla="*/ 44 w 84"/>
                <a:gd name="T39" fmla="*/ 68 h 96"/>
                <a:gd name="T40" fmla="*/ 44 w 84"/>
                <a:gd name="T41" fmla="*/ 72 h 96"/>
                <a:gd name="T42" fmla="*/ 42 w 84"/>
                <a:gd name="T43" fmla="*/ 74 h 96"/>
                <a:gd name="T44" fmla="*/ 40 w 84"/>
                <a:gd name="T45" fmla="*/ 72 h 96"/>
                <a:gd name="T46" fmla="*/ 40 w 84"/>
                <a:gd name="T47" fmla="*/ 68 h 96"/>
                <a:gd name="T48" fmla="*/ 30 w 84"/>
                <a:gd name="T49" fmla="*/ 56 h 96"/>
                <a:gd name="T50" fmla="*/ 32 w 84"/>
                <a:gd name="T51" fmla="*/ 54 h 96"/>
                <a:gd name="T52" fmla="*/ 34 w 84"/>
                <a:gd name="T53" fmla="*/ 56 h 96"/>
                <a:gd name="T54" fmla="*/ 40 w 84"/>
                <a:gd name="T55" fmla="*/ 64 h 96"/>
                <a:gd name="T56" fmla="*/ 40 w 84"/>
                <a:gd name="T57" fmla="*/ 48 h 96"/>
                <a:gd name="T58" fmla="*/ 30 w 84"/>
                <a:gd name="T59" fmla="*/ 36 h 96"/>
                <a:gd name="T60" fmla="*/ 40 w 84"/>
                <a:gd name="T61" fmla="*/ 24 h 96"/>
                <a:gd name="T62" fmla="*/ 40 w 84"/>
                <a:gd name="T63" fmla="*/ 20 h 96"/>
                <a:gd name="T64" fmla="*/ 42 w 84"/>
                <a:gd name="T65" fmla="*/ 18 h 96"/>
                <a:gd name="T66" fmla="*/ 44 w 84"/>
                <a:gd name="T67" fmla="*/ 20 h 96"/>
                <a:gd name="T68" fmla="*/ 44 w 84"/>
                <a:gd name="T69" fmla="*/ 24 h 96"/>
                <a:gd name="T70" fmla="*/ 54 w 84"/>
                <a:gd name="T71" fmla="*/ 36 h 96"/>
                <a:gd name="T72" fmla="*/ 52 w 84"/>
                <a:gd name="T73" fmla="*/ 38 h 96"/>
                <a:gd name="T74" fmla="*/ 50 w 84"/>
                <a:gd name="T75" fmla="*/ 36 h 96"/>
                <a:gd name="T76" fmla="*/ 44 w 84"/>
                <a:gd name="T77" fmla="*/ 28 h 96"/>
                <a:gd name="T78" fmla="*/ 44 w 84"/>
                <a:gd name="T79" fmla="*/ 44 h 96"/>
                <a:gd name="T80" fmla="*/ 54 w 84"/>
                <a:gd name="T81" fmla="*/ 5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96">
                  <a:moveTo>
                    <a:pt x="83" y="2"/>
                  </a:moveTo>
                  <a:cubicBezTo>
                    <a:pt x="82" y="2"/>
                    <a:pt x="81" y="2"/>
                    <a:pt x="81" y="2"/>
                  </a:cubicBezTo>
                  <a:cubicBezTo>
                    <a:pt x="74" y="7"/>
                    <a:pt x="68" y="10"/>
                    <a:pt x="62" y="10"/>
                  </a:cubicBezTo>
                  <a:cubicBezTo>
                    <a:pt x="55" y="10"/>
                    <a:pt x="48" y="6"/>
                    <a:pt x="44" y="1"/>
                  </a:cubicBezTo>
                  <a:cubicBezTo>
                    <a:pt x="43" y="0"/>
                    <a:pt x="41" y="0"/>
                    <a:pt x="40" y="1"/>
                  </a:cubicBezTo>
                  <a:cubicBezTo>
                    <a:pt x="36" y="6"/>
                    <a:pt x="29" y="10"/>
                    <a:pt x="22" y="10"/>
                  </a:cubicBezTo>
                  <a:cubicBezTo>
                    <a:pt x="16" y="10"/>
                    <a:pt x="10" y="7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5"/>
                    <a:pt x="7" y="86"/>
                    <a:pt x="41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2" y="96"/>
                    <a:pt x="42" y="96"/>
                    <a:pt x="43" y="96"/>
                  </a:cubicBezTo>
                  <a:cubicBezTo>
                    <a:pt x="77" y="86"/>
                    <a:pt x="84" y="65"/>
                    <a:pt x="84" y="64"/>
                  </a:cubicBezTo>
                  <a:cubicBezTo>
                    <a:pt x="84" y="64"/>
                    <a:pt x="84" y="64"/>
                    <a:pt x="84" y="63"/>
                  </a:cubicBezTo>
                  <a:cubicBezTo>
                    <a:pt x="84" y="4"/>
                    <a:pt x="84" y="4"/>
                    <a:pt x="84" y="4"/>
                  </a:cubicBezTo>
                  <a:cubicBezTo>
                    <a:pt x="84" y="3"/>
                    <a:pt x="84" y="3"/>
                    <a:pt x="83" y="2"/>
                  </a:cubicBezTo>
                  <a:close/>
                  <a:moveTo>
                    <a:pt x="54" y="56"/>
                  </a:moveTo>
                  <a:cubicBezTo>
                    <a:pt x="54" y="62"/>
                    <a:pt x="50" y="67"/>
                    <a:pt x="44" y="68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3"/>
                    <a:pt x="43" y="74"/>
                    <a:pt x="42" y="74"/>
                  </a:cubicBezTo>
                  <a:cubicBezTo>
                    <a:pt x="41" y="74"/>
                    <a:pt x="40" y="73"/>
                    <a:pt x="40" y="72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34" y="67"/>
                    <a:pt x="30" y="62"/>
                    <a:pt x="30" y="56"/>
                  </a:cubicBezTo>
                  <a:cubicBezTo>
                    <a:pt x="30" y="55"/>
                    <a:pt x="31" y="54"/>
                    <a:pt x="32" y="54"/>
                  </a:cubicBezTo>
                  <a:cubicBezTo>
                    <a:pt x="33" y="54"/>
                    <a:pt x="34" y="55"/>
                    <a:pt x="34" y="56"/>
                  </a:cubicBezTo>
                  <a:cubicBezTo>
                    <a:pt x="34" y="60"/>
                    <a:pt x="37" y="63"/>
                    <a:pt x="40" y="64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34" y="47"/>
                    <a:pt x="30" y="42"/>
                    <a:pt x="30" y="36"/>
                  </a:cubicBezTo>
                  <a:cubicBezTo>
                    <a:pt x="30" y="30"/>
                    <a:pt x="34" y="25"/>
                    <a:pt x="40" y="24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19"/>
                    <a:pt x="41" y="18"/>
                    <a:pt x="42" y="18"/>
                  </a:cubicBezTo>
                  <a:cubicBezTo>
                    <a:pt x="43" y="18"/>
                    <a:pt x="44" y="19"/>
                    <a:pt x="44" y="20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50" y="25"/>
                    <a:pt x="54" y="30"/>
                    <a:pt x="54" y="36"/>
                  </a:cubicBezTo>
                  <a:cubicBezTo>
                    <a:pt x="54" y="37"/>
                    <a:pt x="53" y="38"/>
                    <a:pt x="52" y="38"/>
                  </a:cubicBezTo>
                  <a:cubicBezTo>
                    <a:pt x="51" y="38"/>
                    <a:pt x="50" y="37"/>
                    <a:pt x="50" y="36"/>
                  </a:cubicBezTo>
                  <a:cubicBezTo>
                    <a:pt x="50" y="32"/>
                    <a:pt x="47" y="29"/>
                    <a:pt x="44" y="28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50" y="45"/>
                    <a:pt x="54" y="50"/>
                    <a:pt x="54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5" name="Title 3">
            <a:extLst>
              <a:ext uri="{FF2B5EF4-FFF2-40B4-BE49-F238E27FC236}">
                <a16:creationId xmlns:a16="http://schemas.microsoft.com/office/drawing/2014/main" id="{E724945E-CA55-49FB-9518-F4A3F4ED89CF}"/>
              </a:ext>
            </a:extLst>
          </p:cNvPr>
          <p:cNvSpPr txBox="1">
            <a:spLocks/>
          </p:cNvSpPr>
          <p:nvPr/>
        </p:nvSpPr>
        <p:spPr>
          <a:xfrm>
            <a:off x="541944" y="705388"/>
            <a:ext cx="11154756" cy="8052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o-KR" altLang="en-US" sz="36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기존 애플리케이션</a:t>
            </a:r>
            <a:endParaRPr lang="en-US" sz="3600" dirty="0">
              <a:solidFill>
                <a:schemeClr val="bg1"/>
              </a:solidFill>
              <a:latin typeface="HY견고딕" panose="02030600000101010101" pitchFamily="18" charset="-127"/>
              <a:ea typeface="HY견고딕" panose="02030600000101010101" pitchFamily="18" charset="-127"/>
              <a:cs typeface="Segoe UI" panose="020B0502040204020203" pitchFamily="34" charset="0"/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6D4DB3D1-07F4-493F-A6D6-C9D7412B137D}"/>
              </a:ext>
            </a:extLst>
          </p:cNvPr>
          <p:cNvGrpSpPr/>
          <p:nvPr/>
        </p:nvGrpSpPr>
        <p:grpSpPr>
          <a:xfrm>
            <a:off x="558060" y="442223"/>
            <a:ext cx="622326" cy="131948"/>
            <a:chOff x="692712" y="619597"/>
            <a:chExt cx="622326" cy="131948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2BB6E82A-38D7-45DB-B105-91045C3C11DE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D793D56F-2E01-414F-BA32-9899A61AB49E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59105A46-8823-4AA9-A4F8-330868975F46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" name="그룹 5">
            <a:extLst>
              <a:ext uri="{FF2B5EF4-FFF2-40B4-BE49-F238E27FC236}">
                <a16:creationId xmlns:a16="http://schemas.microsoft.com/office/drawing/2014/main" id="{D6E79C6E-5B26-96D2-FAB9-3C49F27598D0}"/>
              </a:ext>
            </a:extLst>
          </p:cNvPr>
          <p:cNvGrpSpPr/>
          <p:nvPr/>
        </p:nvGrpSpPr>
        <p:grpSpPr>
          <a:xfrm>
            <a:off x="298390" y="1828383"/>
            <a:ext cx="2441245" cy="3693633"/>
            <a:chOff x="298390" y="1828383"/>
            <a:chExt cx="2441245" cy="3693633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29892D88-7399-41E9-B715-BF1E722E4E54}"/>
                </a:ext>
              </a:extLst>
            </p:cNvPr>
            <p:cNvGrpSpPr/>
            <p:nvPr/>
          </p:nvGrpSpPr>
          <p:grpSpPr>
            <a:xfrm>
              <a:off x="735311" y="1941045"/>
              <a:ext cx="1590478" cy="3371136"/>
              <a:chOff x="5220361" y="638174"/>
              <a:chExt cx="2561481" cy="5429250"/>
            </a:xfrm>
          </p:grpSpPr>
          <p:sp>
            <p:nvSpPr>
              <p:cNvPr id="73" name="Rectangle: Rounded Corners 72">
                <a:extLst>
                  <a:ext uri="{FF2B5EF4-FFF2-40B4-BE49-F238E27FC236}">
                    <a16:creationId xmlns:a16="http://schemas.microsoft.com/office/drawing/2014/main" id="{CB269028-4F0A-4CAB-AE32-3DA04C9C7CBB}"/>
                  </a:ext>
                </a:extLst>
              </p:cNvPr>
              <p:cNvSpPr/>
              <p:nvPr/>
            </p:nvSpPr>
            <p:spPr>
              <a:xfrm>
                <a:off x="5220361" y="638174"/>
                <a:ext cx="2561481" cy="5429250"/>
              </a:xfrm>
              <a:prstGeom prst="roundRect">
                <a:avLst>
                  <a:gd name="adj" fmla="val 7098"/>
                </a:avLst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7AA6B404-DA6F-4DF6-9788-E01DE3671DA4}"/>
                  </a:ext>
                </a:extLst>
              </p:cNvPr>
              <p:cNvSpPr/>
              <p:nvPr/>
            </p:nvSpPr>
            <p:spPr>
              <a:xfrm>
                <a:off x="5220361" y="661507"/>
                <a:ext cx="2561481" cy="5405917"/>
              </a:xfrm>
              <a:custGeom>
                <a:avLst/>
                <a:gdLst>
                  <a:gd name="connsiteX0" fmla="*/ 2463852 w 2561481"/>
                  <a:gd name="connsiteY0" fmla="*/ 0 h 5405917"/>
                  <a:gd name="connsiteX1" fmla="*/ 2508229 w 2561481"/>
                  <a:gd name="connsiteY1" fmla="*/ 29919 h 5405917"/>
                  <a:gd name="connsiteX2" fmla="*/ 2561481 w 2561481"/>
                  <a:gd name="connsiteY2" fmla="*/ 158481 h 5405917"/>
                  <a:gd name="connsiteX3" fmla="*/ 2561481 w 2561481"/>
                  <a:gd name="connsiteY3" fmla="*/ 5224103 h 5405917"/>
                  <a:gd name="connsiteX4" fmla="*/ 2379667 w 2561481"/>
                  <a:gd name="connsiteY4" fmla="*/ 5405917 h 5405917"/>
                  <a:gd name="connsiteX5" fmla="*/ 181814 w 2561481"/>
                  <a:gd name="connsiteY5" fmla="*/ 5405917 h 5405917"/>
                  <a:gd name="connsiteX6" fmla="*/ 0 w 2561481"/>
                  <a:gd name="connsiteY6" fmla="*/ 5224103 h 5405917"/>
                  <a:gd name="connsiteX7" fmla="*/ 0 w 2561481"/>
                  <a:gd name="connsiteY7" fmla="*/ 5219587 h 5405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61481" h="5405917">
                    <a:moveTo>
                      <a:pt x="2463852" y="0"/>
                    </a:moveTo>
                    <a:lnTo>
                      <a:pt x="2508229" y="29919"/>
                    </a:lnTo>
                    <a:cubicBezTo>
                      <a:pt x="2541131" y="62821"/>
                      <a:pt x="2561481" y="108275"/>
                      <a:pt x="2561481" y="158481"/>
                    </a:cubicBezTo>
                    <a:lnTo>
                      <a:pt x="2561481" y="5224103"/>
                    </a:lnTo>
                    <a:cubicBezTo>
                      <a:pt x="2561481" y="5324516"/>
                      <a:pt x="2480080" y="5405917"/>
                      <a:pt x="2379667" y="5405917"/>
                    </a:cubicBezTo>
                    <a:lnTo>
                      <a:pt x="181814" y="5405917"/>
                    </a:lnTo>
                    <a:cubicBezTo>
                      <a:pt x="81401" y="5405917"/>
                      <a:pt x="0" y="5324516"/>
                      <a:pt x="0" y="5224103"/>
                    </a:cubicBezTo>
                    <a:lnTo>
                      <a:pt x="0" y="5219587"/>
                    </a:lnTo>
                    <a:close/>
                  </a:path>
                </a:pathLst>
              </a:custGeom>
              <a:solidFill>
                <a:schemeClr val="bg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165CD5A8-0EFF-46C8-9AD3-C6331B9BDAAA}"/>
                </a:ext>
              </a:extLst>
            </p:cNvPr>
            <p:cNvGrpSpPr/>
            <p:nvPr/>
          </p:nvGrpSpPr>
          <p:grpSpPr>
            <a:xfrm>
              <a:off x="1276734" y="3372797"/>
              <a:ext cx="507632" cy="507632"/>
              <a:chOff x="6092328" y="2944026"/>
              <a:chExt cx="817546" cy="817546"/>
            </a:xfrm>
          </p:grpSpPr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CF2E10C6-EB90-4AE5-9866-0E44849FA274}"/>
                  </a:ext>
                </a:extLst>
              </p:cNvPr>
              <p:cNvSpPr/>
              <p:nvPr/>
            </p:nvSpPr>
            <p:spPr>
              <a:xfrm>
                <a:off x="6092328" y="2944026"/>
                <a:ext cx="817546" cy="817546"/>
              </a:xfrm>
              <a:prstGeom prst="ellipse">
                <a:avLst/>
              </a:prstGeom>
              <a:solidFill>
                <a:srgbClr val="EBECF9"/>
              </a:solidFill>
              <a:ln>
                <a:noFill/>
              </a:ln>
              <a:effectLst>
                <a:outerShdw blurRad="50800" dist="38100" dir="2700000" algn="tl" rotWithShape="0">
                  <a:srgbClr val="4757B8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103AD576-E5CA-4D64-94F1-E846B4D0A35D}"/>
                  </a:ext>
                </a:extLst>
              </p:cNvPr>
              <p:cNvGrpSpPr/>
              <p:nvPr/>
            </p:nvGrpSpPr>
            <p:grpSpPr>
              <a:xfrm>
                <a:off x="6287329" y="3138086"/>
                <a:ext cx="427544" cy="429427"/>
                <a:chOff x="3397251" y="1787525"/>
                <a:chExt cx="360363" cy="361950"/>
              </a:xfr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effectLst>
                <a:outerShdw dist="12700" dir="2700000" algn="tl" rotWithShape="0">
                  <a:srgbClr val="4757B8">
                    <a:alpha val="20000"/>
                  </a:srgbClr>
                </a:outerShdw>
              </a:effectLst>
            </p:grpSpPr>
            <p:sp>
              <p:nvSpPr>
                <p:cNvPr id="67" name="Freeform 13">
                  <a:extLst>
                    <a:ext uri="{FF2B5EF4-FFF2-40B4-BE49-F238E27FC236}">
                      <a16:creationId xmlns:a16="http://schemas.microsoft.com/office/drawing/2014/main" id="{72A40BDD-C251-4325-8DD7-F34DB9E3FB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97251" y="2133600"/>
                  <a:ext cx="360363" cy="15875"/>
                </a:xfrm>
                <a:custGeom>
                  <a:avLst/>
                  <a:gdLst>
                    <a:gd name="T0" fmla="*/ 94 w 96"/>
                    <a:gd name="T1" fmla="*/ 0 h 4"/>
                    <a:gd name="T2" fmla="*/ 2 w 96"/>
                    <a:gd name="T3" fmla="*/ 0 h 4"/>
                    <a:gd name="T4" fmla="*/ 0 w 96"/>
                    <a:gd name="T5" fmla="*/ 2 h 4"/>
                    <a:gd name="T6" fmla="*/ 2 w 96"/>
                    <a:gd name="T7" fmla="*/ 4 h 4"/>
                    <a:gd name="T8" fmla="*/ 94 w 96"/>
                    <a:gd name="T9" fmla="*/ 4 h 4"/>
                    <a:gd name="T10" fmla="*/ 96 w 96"/>
                    <a:gd name="T11" fmla="*/ 2 h 4"/>
                    <a:gd name="T12" fmla="*/ 94 w 96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6" h="4">
                      <a:moveTo>
                        <a:pt x="94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0" y="1"/>
                        <a:pt x="0" y="2"/>
                      </a:cubicBezTo>
                      <a:cubicBezTo>
                        <a:pt x="0" y="3"/>
                        <a:pt x="1" y="4"/>
                        <a:pt x="2" y="4"/>
                      </a:cubicBezTo>
                      <a:cubicBezTo>
                        <a:pt x="94" y="4"/>
                        <a:pt x="94" y="4"/>
                        <a:pt x="94" y="4"/>
                      </a:cubicBezTo>
                      <a:cubicBezTo>
                        <a:pt x="95" y="4"/>
                        <a:pt x="96" y="3"/>
                        <a:pt x="96" y="2"/>
                      </a:cubicBezTo>
                      <a:cubicBezTo>
                        <a:pt x="96" y="1"/>
                        <a:pt x="95" y="0"/>
                        <a:pt x="9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68" name="Freeform 14">
                  <a:extLst>
                    <a:ext uri="{FF2B5EF4-FFF2-40B4-BE49-F238E27FC236}">
                      <a16:creationId xmlns:a16="http://schemas.microsoft.com/office/drawing/2014/main" id="{4F3FD60E-37BE-4DFB-8FDF-FA4651986B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97251" y="2103438"/>
                  <a:ext cx="360363" cy="15875"/>
                </a:xfrm>
                <a:custGeom>
                  <a:avLst/>
                  <a:gdLst>
                    <a:gd name="T0" fmla="*/ 2 w 96"/>
                    <a:gd name="T1" fmla="*/ 4 h 4"/>
                    <a:gd name="T2" fmla="*/ 94 w 96"/>
                    <a:gd name="T3" fmla="*/ 4 h 4"/>
                    <a:gd name="T4" fmla="*/ 96 w 96"/>
                    <a:gd name="T5" fmla="*/ 2 h 4"/>
                    <a:gd name="T6" fmla="*/ 94 w 96"/>
                    <a:gd name="T7" fmla="*/ 0 h 4"/>
                    <a:gd name="T8" fmla="*/ 2 w 96"/>
                    <a:gd name="T9" fmla="*/ 0 h 4"/>
                    <a:gd name="T10" fmla="*/ 0 w 96"/>
                    <a:gd name="T11" fmla="*/ 2 h 4"/>
                    <a:gd name="T12" fmla="*/ 2 w 96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6" h="4">
                      <a:moveTo>
                        <a:pt x="2" y="4"/>
                      </a:moveTo>
                      <a:cubicBezTo>
                        <a:pt x="94" y="4"/>
                        <a:pt x="94" y="4"/>
                        <a:pt x="94" y="4"/>
                      </a:cubicBezTo>
                      <a:cubicBezTo>
                        <a:pt x="95" y="4"/>
                        <a:pt x="96" y="3"/>
                        <a:pt x="96" y="2"/>
                      </a:cubicBezTo>
                      <a:cubicBezTo>
                        <a:pt x="96" y="1"/>
                        <a:pt x="95" y="0"/>
                        <a:pt x="94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0" y="1"/>
                        <a:pt x="0" y="2"/>
                      </a:cubicBezTo>
                      <a:cubicBezTo>
                        <a:pt x="0" y="3"/>
                        <a:pt x="1" y="4"/>
                        <a:pt x="2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69" name="Freeform 15">
                  <a:extLst>
                    <a:ext uri="{FF2B5EF4-FFF2-40B4-BE49-F238E27FC236}">
                      <a16:creationId xmlns:a16="http://schemas.microsoft.com/office/drawing/2014/main" id="{432F6CAF-515F-4CAC-83CB-B4BE0859F9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13126" y="1954213"/>
                  <a:ext cx="90488" cy="134938"/>
                </a:xfrm>
                <a:custGeom>
                  <a:avLst/>
                  <a:gdLst>
                    <a:gd name="T0" fmla="*/ 22 w 24"/>
                    <a:gd name="T1" fmla="*/ 4 h 36"/>
                    <a:gd name="T2" fmla="*/ 24 w 24"/>
                    <a:gd name="T3" fmla="*/ 2 h 36"/>
                    <a:gd name="T4" fmla="*/ 22 w 24"/>
                    <a:gd name="T5" fmla="*/ 0 h 36"/>
                    <a:gd name="T6" fmla="*/ 2 w 24"/>
                    <a:gd name="T7" fmla="*/ 0 h 36"/>
                    <a:gd name="T8" fmla="*/ 0 w 24"/>
                    <a:gd name="T9" fmla="*/ 2 h 36"/>
                    <a:gd name="T10" fmla="*/ 2 w 24"/>
                    <a:gd name="T11" fmla="*/ 4 h 36"/>
                    <a:gd name="T12" fmla="*/ 4 w 24"/>
                    <a:gd name="T13" fmla="*/ 4 h 36"/>
                    <a:gd name="T14" fmla="*/ 4 w 24"/>
                    <a:gd name="T15" fmla="*/ 32 h 36"/>
                    <a:gd name="T16" fmla="*/ 2 w 24"/>
                    <a:gd name="T17" fmla="*/ 32 h 36"/>
                    <a:gd name="T18" fmla="*/ 0 w 24"/>
                    <a:gd name="T19" fmla="*/ 34 h 36"/>
                    <a:gd name="T20" fmla="*/ 2 w 24"/>
                    <a:gd name="T21" fmla="*/ 36 h 36"/>
                    <a:gd name="T22" fmla="*/ 4 w 24"/>
                    <a:gd name="T23" fmla="*/ 36 h 36"/>
                    <a:gd name="T24" fmla="*/ 20 w 24"/>
                    <a:gd name="T25" fmla="*/ 36 h 36"/>
                    <a:gd name="T26" fmla="*/ 22 w 24"/>
                    <a:gd name="T27" fmla="*/ 36 h 36"/>
                    <a:gd name="T28" fmla="*/ 24 w 24"/>
                    <a:gd name="T29" fmla="*/ 34 h 36"/>
                    <a:gd name="T30" fmla="*/ 22 w 24"/>
                    <a:gd name="T31" fmla="*/ 32 h 36"/>
                    <a:gd name="T32" fmla="*/ 20 w 24"/>
                    <a:gd name="T33" fmla="*/ 32 h 36"/>
                    <a:gd name="T34" fmla="*/ 20 w 24"/>
                    <a:gd name="T35" fmla="*/ 4 h 36"/>
                    <a:gd name="T36" fmla="*/ 22 w 24"/>
                    <a:gd name="T37" fmla="*/ 4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4" h="36">
                      <a:moveTo>
                        <a:pt x="22" y="4"/>
                      </a:moveTo>
                      <a:cubicBezTo>
                        <a:pt x="23" y="4"/>
                        <a:pt x="24" y="3"/>
                        <a:pt x="24" y="2"/>
                      </a:cubicBezTo>
                      <a:cubicBezTo>
                        <a:pt x="24" y="1"/>
                        <a:pt x="23" y="0"/>
                        <a:pt x="2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0" y="1"/>
                        <a:pt x="0" y="2"/>
                      </a:cubicBezTo>
                      <a:cubicBezTo>
                        <a:pt x="0" y="3"/>
                        <a:pt x="1" y="4"/>
                        <a:pt x="2" y="4"/>
                      </a:cubicBezTo>
                      <a:cubicBezTo>
                        <a:pt x="4" y="4"/>
                        <a:pt x="4" y="4"/>
                        <a:pt x="4" y="4"/>
                      </a:cubicBezTo>
                      <a:cubicBezTo>
                        <a:pt x="4" y="32"/>
                        <a:pt x="4" y="32"/>
                        <a:pt x="4" y="32"/>
                      </a:cubicBezTo>
                      <a:cubicBezTo>
                        <a:pt x="2" y="32"/>
                        <a:pt x="2" y="32"/>
                        <a:pt x="2" y="32"/>
                      </a:cubicBezTo>
                      <a:cubicBezTo>
                        <a:pt x="1" y="32"/>
                        <a:pt x="0" y="33"/>
                        <a:pt x="0" y="34"/>
                      </a:cubicBezTo>
                      <a:cubicBezTo>
                        <a:pt x="0" y="35"/>
                        <a:pt x="1" y="36"/>
                        <a:pt x="2" y="36"/>
                      </a:cubicBezTo>
                      <a:cubicBezTo>
                        <a:pt x="4" y="36"/>
                        <a:pt x="4" y="36"/>
                        <a:pt x="4" y="36"/>
                      </a:cubicBezTo>
                      <a:cubicBezTo>
                        <a:pt x="20" y="36"/>
                        <a:pt x="20" y="36"/>
                        <a:pt x="20" y="36"/>
                      </a:cubicBezTo>
                      <a:cubicBezTo>
                        <a:pt x="22" y="36"/>
                        <a:pt x="22" y="36"/>
                        <a:pt x="22" y="36"/>
                      </a:cubicBezTo>
                      <a:cubicBezTo>
                        <a:pt x="23" y="36"/>
                        <a:pt x="24" y="35"/>
                        <a:pt x="24" y="34"/>
                      </a:cubicBezTo>
                      <a:cubicBezTo>
                        <a:pt x="24" y="33"/>
                        <a:pt x="23" y="32"/>
                        <a:pt x="22" y="32"/>
                      </a:cubicBezTo>
                      <a:cubicBezTo>
                        <a:pt x="20" y="32"/>
                        <a:pt x="20" y="32"/>
                        <a:pt x="20" y="32"/>
                      </a:cubicBezTo>
                      <a:cubicBezTo>
                        <a:pt x="20" y="4"/>
                        <a:pt x="20" y="4"/>
                        <a:pt x="20" y="4"/>
                      </a:cubicBezTo>
                      <a:lnTo>
                        <a:pt x="22" y="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70" name="Freeform 16">
                  <a:extLst>
                    <a:ext uri="{FF2B5EF4-FFF2-40B4-BE49-F238E27FC236}">
                      <a16:creationId xmlns:a16="http://schemas.microsoft.com/office/drawing/2014/main" id="{7C363DB0-1A81-43C2-A473-1A31E356A2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32188" y="1954213"/>
                  <a:ext cx="90488" cy="134938"/>
                </a:xfrm>
                <a:custGeom>
                  <a:avLst/>
                  <a:gdLst>
                    <a:gd name="T0" fmla="*/ 22 w 24"/>
                    <a:gd name="T1" fmla="*/ 4 h 36"/>
                    <a:gd name="T2" fmla="*/ 24 w 24"/>
                    <a:gd name="T3" fmla="*/ 2 h 36"/>
                    <a:gd name="T4" fmla="*/ 22 w 24"/>
                    <a:gd name="T5" fmla="*/ 0 h 36"/>
                    <a:gd name="T6" fmla="*/ 2 w 24"/>
                    <a:gd name="T7" fmla="*/ 0 h 36"/>
                    <a:gd name="T8" fmla="*/ 0 w 24"/>
                    <a:gd name="T9" fmla="*/ 2 h 36"/>
                    <a:gd name="T10" fmla="*/ 2 w 24"/>
                    <a:gd name="T11" fmla="*/ 4 h 36"/>
                    <a:gd name="T12" fmla="*/ 4 w 24"/>
                    <a:gd name="T13" fmla="*/ 4 h 36"/>
                    <a:gd name="T14" fmla="*/ 4 w 24"/>
                    <a:gd name="T15" fmla="*/ 32 h 36"/>
                    <a:gd name="T16" fmla="*/ 2 w 24"/>
                    <a:gd name="T17" fmla="*/ 32 h 36"/>
                    <a:gd name="T18" fmla="*/ 0 w 24"/>
                    <a:gd name="T19" fmla="*/ 34 h 36"/>
                    <a:gd name="T20" fmla="*/ 2 w 24"/>
                    <a:gd name="T21" fmla="*/ 36 h 36"/>
                    <a:gd name="T22" fmla="*/ 4 w 24"/>
                    <a:gd name="T23" fmla="*/ 36 h 36"/>
                    <a:gd name="T24" fmla="*/ 20 w 24"/>
                    <a:gd name="T25" fmla="*/ 36 h 36"/>
                    <a:gd name="T26" fmla="*/ 22 w 24"/>
                    <a:gd name="T27" fmla="*/ 36 h 36"/>
                    <a:gd name="T28" fmla="*/ 24 w 24"/>
                    <a:gd name="T29" fmla="*/ 34 h 36"/>
                    <a:gd name="T30" fmla="*/ 22 w 24"/>
                    <a:gd name="T31" fmla="*/ 32 h 36"/>
                    <a:gd name="T32" fmla="*/ 20 w 24"/>
                    <a:gd name="T33" fmla="*/ 32 h 36"/>
                    <a:gd name="T34" fmla="*/ 20 w 24"/>
                    <a:gd name="T35" fmla="*/ 4 h 36"/>
                    <a:gd name="T36" fmla="*/ 22 w 24"/>
                    <a:gd name="T37" fmla="*/ 4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4" h="36">
                      <a:moveTo>
                        <a:pt x="22" y="4"/>
                      </a:moveTo>
                      <a:cubicBezTo>
                        <a:pt x="23" y="4"/>
                        <a:pt x="24" y="3"/>
                        <a:pt x="24" y="2"/>
                      </a:cubicBezTo>
                      <a:cubicBezTo>
                        <a:pt x="24" y="1"/>
                        <a:pt x="23" y="0"/>
                        <a:pt x="2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0" y="1"/>
                        <a:pt x="0" y="2"/>
                      </a:cubicBezTo>
                      <a:cubicBezTo>
                        <a:pt x="0" y="3"/>
                        <a:pt x="1" y="4"/>
                        <a:pt x="2" y="4"/>
                      </a:cubicBezTo>
                      <a:cubicBezTo>
                        <a:pt x="4" y="4"/>
                        <a:pt x="4" y="4"/>
                        <a:pt x="4" y="4"/>
                      </a:cubicBezTo>
                      <a:cubicBezTo>
                        <a:pt x="4" y="32"/>
                        <a:pt x="4" y="32"/>
                        <a:pt x="4" y="32"/>
                      </a:cubicBezTo>
                      <a:cubicBezTo>
                        <a:pt x="2" y="32"/>
                        <a:pt x="2" y="32"/>
                        <a:pt x="2" y="32"/>
                      </a:cubicBezTo>
                      <a:cubicBezTo>
                        <a:pt x="1" y="32"/>
                        <a:pt x="0" y="33"/>
                        <a:pt x="0" y="34"/>
                      </a:cubicBezTo>
                      <a:cubicBezTo>
                        <a:pt x="0" y="35"/>
                        <a:pt x="1" y="36"/>
                        <a:pt x="2" y="36"/>
                      </a:cubicBezTo>
                      <a:cubicBezTo>
                        <a:pt x="4" y="36"/>
                        <a:pt x="4" y="36"/>
                        <a:pt x="4" y="36"/>
                      </a:cubicBezTo>
                      <a:cubicBezTo>
                        <a:pt x="20" y="36"/>
                        <a:pt x="20" y="36"/>
                        <a:pt x="20" y="36"/>
                      </a:cubicBezTo>
                      <a:cubicBezTo>
                        <a:pt x="22" y="36"/>
                        <a:pt x="22" y="36"/>
                        <a:pt x="22" y="36"/>
                      </a:cubicBezTo>
                      <a:cubicBezTo>
                        <a:pt x="23" y="36"/>
                        <a:pt x="24" y="35"/>
                        <a:pt x="24" y="34"/>
                      </a:cubicBezTo>
                      <a:cubicBezTo>
                        <a:pt x="24" y="33"/>
                        <a:pt x="23" y="32"/>
                        <a:pt x="22" y="32"/>
                      </a:cubicBezTo>
                      <a:cubicBezTo>
                        <a:pt x="20" y="32"/>
                        <a:pt x="20" y="32"/>
                        <a:pt x="20" y="32"/>
                      </a:cubicBezTo>
                      <a:cubicBezTo>
                        <a:pt x="20" y="4"/>
                        <a:pt x="20" y="4"/>
                        <a:pt x="20" y="4"/>
                      </a:cubicBezTo>
                      <a:lnTo>
                        <a:pt x="22" y="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71" name="Freeform 17">
                  <a:extLst>
                    <a:ext uri="{FF2B5EF4-FFF2-40B4-BE49-F238E27FC236}">
                      <a16:creationId xmlns:a16="http://schemas.microsoft.com/office/drawing/2014/main" id="{96905E24-F4FC-4138-BC83-B9C9AACB58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2838" y="1954213"/>
                  <a:ext cx="90488" cy="134938"/>
                </a:xfrm>
                <a:custGeom>
                  <a:avLst/>
                  <a:gdLst>
                    <a:gd name="T0" fmla="*/ 22 w 24"/>
                    <a:gd name="T1" fmla="*/ 4 h 36"/>
                    <a:gd name="T2" fmla="*/ 24 w 24"/>
                    <a:gd name="T3" fmla="*/ 2 h 36"/>
                    <a:gd name="T4" fmla="*/ 22 w 24"/>
                    <a:gd name="T5" fmla="*/ 0 h 36"/>
                    <a:gd name="T6" fmla="*/ 2 w 24"/>
                    <a:gd name="T7" fmla="*/ 0 h 36"/>
                    <a:gd name="T8" fmla="*/ 0 w 24"/>
                    <a:gd name="T9" fmla="*/ 2 h 36"/>
                    <a:gd name="T10" fmla="*/ 2 w 24"/>
                    <a:gd name="T11" fmla="*/ 4 h 36"/>
                    <a:gd name="T12" fmla="*/ 4 w 24"/>
                    <a:gd name="T13" fmla="*/ 4 h 36"/>
                    <a:gd name="T14" fmla="*/ 4 w 24"/>
                    <a:gd name="T15" fmla="*/ 32 h 36"/>
                    <a:gd name="T16" fmla="*/ 2 w 24"/>
                    <a:gd name="T17" fmla="*/ 32 h 36"/>
                    <a:gd name="T18" fmla="*/ 0 w 24"/>
                    <a:gd name="T19" fmla="*/ 34 h 36"/>
                    <a:gd name="T20" fmla="*/ 2 w 24"/>
                    <a:gd name="T21" fmla="*/ 36 h 36"/>
                    <a:gd name="T22" fmla="*/ 4 w 24"/>
                    <a:gd name="T23" fmla="*/ 36 h 36"/>
                    <a:gd name="T24" fmla="*/ 20 w 24"/>
                    <a:gd name="T25" fmla="*/ 36 h 36"/>
                    <a:gd name="T26" fmla="*/ 22 w 24"/>
                    <a:gd name="T27" fmla="*/ 36 h 36"/>
                    <a:gd name="T28" fmla="*/ 24 w 24"/>
                    <a:gd name="T29" fmla="*/ 34 h 36"/>
                    <a:gd name="T30" fmla="*/ 22 w 24"/>
                    <a:gd name="T31" fmla="*/ 32 h 36"/>
                    <a:gd name="T32" fmla="*/ 20 w 24"/>
                    <a:gd name="T33" fmla="*/ 32 h 36"/>
                    <a:gd name="T34" fmla="*/ 20 w 24"/>
                    <a:gd name="T35" fmla="*/ 4 h 36"/>
                    <a:gd name="T36" fmla="*/ 22 w 24"/>
                    <a:gd name="T37" fmla="*/ 4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4" h="36">
                      <a:moveTo>
                        <a:pt x="22" y="4"/>
                      </a:moveTo>
                      <a:cubicBezTo>
                        <a:pt x="23" y="4"/>
                        <a:pt x="24" y="3"/>
                        <a:pt x="24" y="2"/>
                      </a:cubicBezTo>
                      <a:cubicBezTo>
                        <a:pt x="24" y="1"/>
                        <a:pt x="23" y="0"/>
                        <a:pt x="2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0" y="1"/>
                        <a:pt x="0" y="2"/>
                      </a:cubicBezTo>
                      <a:cubicBezTo>
                        <a:pt x="0" y="3"/>
                        <a:pt x="1" y="4"/>
                        <a:pt x="2" y="4"/>
                      </a:cubicBezTo>
                      <a:cubicBezTo>
                        <a:pt x="4" y="4"/>
                        <a:pt x="4" y="4"/>
                        <a:pt x="4" y="4"/>
                      </a:cubicBezTo>
                      <a:cubicBezTo>
                        <a:pt x="4" y="32"/>
                        <a:pt x="4" y="32"/>
                        <a:pt x="4" y="32"/>
                      </a:cubicBezTo>
                      <a:cubicBezTo>
                        <a:pt x="2" y="32"/>
                        <a:pt x="2" y="32"/>
                        <a:pt x="2" y="32"/>
                      </a:cubicBezTo>
                      <a:cubicBezTo>
                        <a:pt x="1" y="32"/>
                        <a:pt x="0" y="33"/>
                        <a:pt x="0" y="34"/>
                      </a:cubicBezTo>
                      <a:cubicBezTo>
                        <a:pt x="0" y="35"/>
                        <a:pt x="1" y="36"/>
                        <a:pt x="2" y="36"/>
                      </a:cubicBezTo>
                      <a:cubicBezTo>
                        <a:pt x="4" y="36"/>
                        <a:pt x="4" y="36"/>
                        <a:pt x="4" y="36"/>
                      </a:cubicBezTo>
                      <a:cubicBezTo>
                        <a:pt x="20" y="36"/>
                        <a:pt x="20" y="36"/>
                        <a:pt x="20" y="36"/>
                      </a:cubicBezTo>
                      <a:cubicBezTo>
                        <a:pt x="22" y="36"/>
                        <a:pt x="22" y="36"/>
                        <a:pt x="22" y="36"/>
                      </a:cubicBezTo>
                      <a:cubicBezTo>
                        <a:pt x="23" y="36"/>
                        <a:pt x="24" y="35"/>
                        <a:pt x="24" y="34"/>
                      </a:cubicBezTo>
                      <a:cubicBezTo>
                        <a:pt x="24" y="33"/>
                        <a:pt x="23" y="32"/>
                        <a:pt x="22" y="32"/>
                      </a:cubicBezTo>
                      <a:cubicBezTo>
                        <a:pt x="20" y="32"/>
                        <a:pt x="20" y="32"/>
                        <a:pt x="20" y="32"/>
                      </a:cubicBezTo>
                      <a:cubicBezTo>
                        <a:pt x="20" y="4"/>
                        <a:pt x="20" y="4"/>
                        <a:pt x="20" y="4"/>
                      </a:cubicBezTo>
                      <a:lnTo>
                        <a:pt x="22" y="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72" name="Freeform 18">
                  <a:extLst>
                    <a:ext uri="{FF2B5EF4-FFF2-40B4-BE49-F238E27FC236}">
                      <a16:creationId xmlns:a16="http://schemas.microsoft.com/office/drawing/2014/main" id="{31E8DDD5-8DFD-4199-A89C-4A27C82200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97251" y="1787525"/>
                  <a:ext cx="360363" cy="150813"/>
                </a:xfrm>
                <a:custGeom>
                  <a:avLst/>
                  <a:gdLst>
                    <a:gd name="T0" fmla="*/ 2 w 96"/>
                    <a:gd name="T1" fmla="*/ 40 h 40"/>
                    <a:gd name="T2" fmla="*/ 94 w 96"/>
                    <a:gd name="T3" fmla="*/ 40 h 40"/>
                    <a:gd name="T4" fmla="*/ 96 w 96"/>
                    <a:gd name="T5" fmla="*/ 39 h 40"/>
                    <a:gd name="T6" fmla="*/ 95 w 96"/>
                    <a:gd name="T7" fmla="*/ 36 h 40"/>
                    <a:gd name="T8" fmla="*/ 49 w 96"/>
                    <a:gd name="T9" fmla="*/ 0 h 40"/>
                    <a:gd name="T10" fmla="*/ 47 w 96"/>
                    <a:gd name="T11" fmla="*/ 0 h 40"/>
                    <a:gd name="T12" fmla="*/ 1 w 96"/>
                    <a:gd name="T13" fmla="*/ 36 h 40"/>
                    <a:gd name="T14" fmla="*/ 0 w 96"/>
                    <a:gd name="T15" fmla="*/ 39 h 40"/>
                    <a:gd name="T16" fmla="*/ 2 w 96"/>
                    <a:gd name="T17" fmla="*/ 4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6" h="40">
                      <a:moveTo>
                        <a:pt x="2" y="40"/>
                      </a:moveTo>
                      <a:cubicBezTo>
                        <a:pt x="94" y="40"/>
                        <a:pt x="94" y="40"/>
                        <a:pt x="94" y="40"/>
                      </a:cubicBezTo>
                      <a:cubicBezTo>
                        <a:pt x="95" y="40"/>
                        <a:pt x="96" y="39"/>
                        <a:pt x="96" y="39"/>
                      </a:cubicBezTo>
                      <a:cubicBezTo>
                        <a:pt x="96" y="38"/>
                        <a:pt x="96" y="37"/>
                        <a:pt x="95" y="36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7" y="0"/>
                      </a:cubicBezTo>
                      <a:cubicBezTo>
                        <a:pt x="1" y="36"/>
                        <a:pt x="1" y="36"/>
                        <a:pt x="1" y="36"/>
                      </a:cubicBezTo>
                      <a:cubicBezTo>
                        <a:pt x="0" y="37"/>
                        <a:pt x="0" y="38"/>
                        <a:pt x="0" y="39"/>
                      </a:cubicBezTo>
                      <a:cubicBezTo>
                        <a:pt x="0" y="39"/>
                        <a:pt x="1" y="40"/>
                        <a:pt x="2" y="4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</p:grpSp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64F7B7F9-C129-FE0E-E534-13E51FE43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0191" y="1955534"/>
              <a:ext cx="1557645" cy="3371136"/>
            </a:xfrm>
            <a:prstGeom prst="rect">
              <a:avLst/>
            </a:prstGeom>
          </p:spPr>
        </p:pic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2609BF4A-27E5-4E98-871A-12835670571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8390" y="1828383"/>
              <a:ext cx="2441245" cy="3693633"/>
            </a:xfrm>
            <a:prstGeom prst="rect">
              <a:avLst/>
            </a:prstGeom>
          </p:spPr>
        </p:pic>
      </p:grpSp>
      <p:pic>
        <p:nvPicPr>
          <p:cNvPr id="8" name="그림 7">
            <a:extLst>
              <a:ext uri="{FF2B5EF4-FFF2-40B4-BE49-F238E27FC236}">
                <a16:creationId xmlns:a16="http://schemas.microsoft.com/office/drawing/2014/main" id="{BE30788F-5394-FE87-1341-A9087305197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7690" y="1951461"/>
            <a:ext cx="1613011" cy="334773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8A7A7D1-CF90-4DDF-ADAC-7F0D16E09A44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3360" y="1842357"/>
            <a:ext cx="2441245" cy="3693633"/>
          </a:xfrm>
          <a:prstGeom prst="rect">
            <a:avLst/>
          </a:prstGeom>
        </p:spPr>
      </p:pic>
      <p:pic>
        <p:nvPicPr>
          <p:cNvPr id="10" name="그림 9" descr="텍스트이(가) 표시된 사진&#10;&#10;자동 생성된 설명">
            <a:extLst>
              <a:ext uri="{FF2B5EF4-FFF2-40B4-BE49-F238E27FC236}">
                <a16:creationId xmlns:a16="http://schemas.microsoft.com/office/drawing/2014/main" id="{62139BD4-8BC2-E3AA-3C2C-D87CC61B0D5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2229" y="1951461"/>
            <a:ext cx="1563804" cy="3347732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0EF33C23-A1CD-4A51-BFB9-18FBE257E939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0518" y="1828382"/>
            <a:ext cx="2441245" cy="3693633"/>
          </a:xfrm>
          <a:prstGeom prst="rect">
            <a:avLst/>
          </a:prstGeom>
        </p:spPr>
      </p:pic>
      <p:sp>
        <p:nvSpPr>
          <p:cNvPr id="103" name="Rectangle: Rounded Corners 6">
            <a:extLst>
              <a:ext uri="{FF2B5EF4-FFF2-40B4-BE49-F238E27FC236}">
                <a16:creationId xmlns:a16="http://schemas.microsoft.com/office/drawing/2014/main" id="{F933ECE1-15D0-A309-92CF-60ABBFFB7D4E}"/>
              </a:ext>
            </a:extLst>
          </p:cNvPr>
          <p:cNvSpPr/>
          <p:nvPr/>
        </p:nvSpPr>
        <p:spPr>
          <a:xfrm>
            <a:off x="8095803" y="5483482"/>
            <a:ext cx="1793649" cy="579725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네이버지도</a:t>
            </a:r>
            <a:endParaRPr lang="en-US" sz="20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04" name="Rectangle: Rounded Corners 6">
            <a:extLst>
              <a:ext uri="{FF2B5EF4-FFF2-40B4-BE49-F238E27FC236}">
                <a16:creationId xmlns:a16="http://schemas.microsoft.com/office/drawing/2014/main" id="{29DD3282-7E20-04BE-EDBE-9B5A1A8F3C0E}"/>
              </a:ext>
            </a:extLst>
          </p:cNvPr>
          <p:cNvSpPr/>
          <p:nvPr/>
        </p:nvSpPr>
        <p:spPr>
          <a:xfrm>
            <a:off x="4354057" y="5483483"/>
            <a:ext cx="1793649" cy="579725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HY견고딕" panose="02030600000101010101" pitchFamily="18" charset="-127"/>
                <a:ea typeface="HY견고딕" panose="02030600000101010101" pitchFamily="18" charset="-127"/>
              </a:rPr>
              <a:t>TMAP</a:t>
            </a:r>
          </a:p>
        </p:txBody>
      </p:sp>
      <p:grpSp>
        <p:nvGrpSpPr>
          <p:cNvPr id="9218" name="그룹 9217">
            <a:extLst>
              <a:ext uri="{FF2B5EF4-FFF2-40B4-BE49-F238E27FC236}">
                <a16:creationId xmlns:a16="http://schemas.microsoft.com/office/drawing/2014/main" id="{EBAB2508-FD03-4144-303C-69DA313A8A7E}"/>
              </a:ext>
            </a:extLst>
          </p:cNvPr>
          <p:cNvGrpSpPr/>
          <p:nvPr/>
        </p:nvGrpSpPr>
        <p:grpSpPr>
          <a:xfrm>
            <a:off x="2404749" y="1863864"/>
            <a:ext cx="1576874" cy="3143854"/>
            <a:chOff x="2404749" y="1996608"/>
            <a:chExt cx="1576874" cy="3143854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C27FAE82-490E-4BF9-8CF1-CC7B50C8CCCF}"/>
                </a:ext>
              </a:extLst>
            </p:cNvPr>
            <p:cNvSpPr/>
            <p:nvPr/>
          </p:nvSpPr>
          <p:spPr>
            <a:xfrm>
              <a:off x="2531871" y="2633471"/>
              <a:ext cx="1449752" cy="917834"/>
            </a:xfrm>
            <a:prstGeom prst="rect">
              <a:avLst/>
            </a:prstGeom>
          </p:spPr>
          <p:txBody>
            <a:bodyPr wrap="square" lIns="0" tIns="0" rIns="0" bIns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7983D7"/>
                </a:buClr>
              </a:pPr>
              <a:r>
                <a:rPr lang="ko-KR" altLang="en-US" sz="1600" b="0" i="0" dirty="0">
                  <a:solidFill>
                    <a:schemeClr val="bg1"/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리뷰 기능</a:t>
              </a:r>
              <a:r>
                <a:rPr lang="en-US" altLang="ko-KR" sz="1600" b="0" i="0" dirty="0">
                  <a:solidFill>
                    <a:schemeClr val="bg1"/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 </a:t>
              </a:r>
              <a:r>
                <a:rPr lang="ko-KR" altLang="en-US" sz="1600" b="0" i="0" dirty="0" err="1">
                  <a:solidFill>
                    <a:schemeClr val="bg1"/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로드뷰</a:t>
              </a:r>
              <a:r>
                <a:rPr lang="en-US" altLang="ko-KR" sz="1600" b="0" i="0" dirty="0">
                  <a:solidFill>
                    <a:schemeClr val="bg1"/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 </a:t>
              </a:r>
              <a:r>
                <a:rPr lang="ko-KR" altLang="en-US" sz="1600" b="0" i="0" dirty="0">
                  <a:solidFill>
                    <a:schemeClr val="bg1"/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즐겨찾기</a:t>
              </a:r>
              <a:endParaRPr lang="en-US" altLang="ko-KR" sz="1600" b="0" i="0" dirty="0">
                <a:solidFill>
                  <a:schemeClr val="bg1"/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EBAB7A4A-E3BD-4FC8-817D-CE87DF017821}"/>
                </a:ext>
              </a:extLst>
            </p:cNvPr>
            <p:cNvSpPr/>
            <p:nvPr/>
          </p:nvSpPr>
          <p:spPr>
            <a:xfrm>
              <a:off x="2507843" y="4222628"/>
              <a:ext cx="1449752" cy="917834"/>
            </a:xfrm>
            <a:prstGeom prst="rect">
              <a:avLst/>
            </a:prstGeom>
          </p:spPr>
          <p:txBody>
            <a:bodyPr wrap="square" lIns="0" tIns="0" rIns="0" bIns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7983D7"/>
                </a:buClr>
              </a:pPr>
              <a:r>
                <a:rPr lang="ko-KR" altLang="en-US" sz="1400" b="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리뷰 신빙성 낮음</a:t>
              </a:r>
              <a:endParaRPr lang="en-US" altLang="ko-KR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endParaRPr>
            </a:p>
            <a:p>
              <a:pPr>
                <a:spcBef>
                  <a:spcPts val="600"/>
                </a:spcBef>
                <a:buClr>
                  <a:srgbClr val="7983D7"/>
                </a:buClr>
              </a:pPr>
              <a:r>
                <a:rPr lang="ko-KR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어플 내 광고 표시</a:t>
              </a:r>
              <a:endParaRPr lang="en-US" altLang="ko-KR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endParaRPr>
            </a:p>
            <a:p>
              <a:pPr>
                <a:spcBef>
                  <a:spcPts val="600"/>
                </a:spcBef>
                <a:buClr>
                  <a:srgbClr val="7983D7"/>
                </a:buClr>
              </a:pPr>
              <a:endParaRPr lang="en-US" altLang="ko-KR" sz="1400" b="0" i="0" dirty="0">
                <a:solidFill>
                  <a:srgbClr val="7983D7"/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endParaRPr>
            </a:p>
          </p:txBody>
        </p:sp>
        <p:grpSp>
          <p:nvGrpSpPr>
            <p:cNvPr id="106" name="그룹 105">
              <a:extLst>
                <a:ext uri="{FF2B5EF4-FFF2-40B4-BE49-F238E27FC236}">
                  <a16:creationId xmlns:a16="http://schemas.microsoft.com/office/drawing/2014/main" id="{7537DE09-CA53-D742-E7EC-E0932951BE78}"/>
                </a:ext>
              </a:extLst>
            </p:cNvPr>
            <p:cNvGrpSpPr/>
            <p:nvPr/>
          </p:nvGrpSpPr>
          <p:grpSpPr>
            <a:xfrm>
              <a:off x="2404749" y="1996608"/>
              <a:ext cx="651175" cy="651175"/>
              <a:chOff x="2377470" y="2293366"/>
              <a:chExt cx="651175" cy="651175"/>
            </a:xfrm>
          </p:grpSpPr>
          <p:sp>
            <p:nvSpPr>
              <p:cNvPr id="100" name="Oval 161">
                <a:extLst>
                  <a:ext uri="{FF2B5EF4-FFF2-40B4-BE49-F238E27FC236}">
                    <a16:creationId xmlns:a16="http://schemas.microsoft.com/office/drawing/2014/main" id="{240DC71A-A6FE-100E-CDF2-4947BFBDCB20}"/>
                  </a:ext>
                </a:extLst>
              </p:cNvPr>
              <p:cNvSpPr/>
              <p:nvPr/>
            </p:nvSpPr>
            <p:spPr>
              <a:xfrm>
                <a:off x="2510468" y="2429792"/>
                <a:ext cx="385180" cy="373269"/>
              </a:xfrm>
              <a:prstGeom prst="ellipse">
                <a:avLst/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9229" name="Picture 13" descr="good Icon 1095734">
                <a:extLst>
                  <a:ext uri="{FF2B5EF4-FFF2-40B4-BE49-F238E27FC236}">
                    <a16:creationId xmlns:a16="http://schemas.microsoft.com/office/drawing/2014/main" id="{B234793D-470C-E54E-54EB-F124824094E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77470" y="2293366"/>
                <a:ext cx="651175" cy="6511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15" name="그룹 114">
              <a:extLst>
                <a:ext uri="{FF2B5EF4-FFF2-40B4-BE49-F238E27FC236}">
                  <a16:creationId xmlns:a16="http://schemas.microsoft.com/office/drawing/2014/main" id="{DBA8A354-C165-91E3-E586-4B2DF981AEA2}"/>
                </a:ext>
              </a:extLst>
            </p:cNvPr>
            <p:cNvGrpSpPr/>
            <p:nvPr/>
          </p:nvGrpSpPr>
          <p:grpSpPr>
            <a:xfrm>
              <a:off x="2535851" y="3688092"/>
              <a:ext cx="385180" cy="395254"/>
              <a:chOff x="3568362" y="6174597"/>
              <a:chExt cx="385180" cy="395254"/>
            </a:xfrm>
          </p:grpSpPr>
          <p:sp>
            <p:nvSpPr>
              <p:cNvPr id="113" name="Oval 161">
                <a:extLst>
                  <a:ext uri="{FF2B5EF4-FFF2-40B4-BE49-F238E27FC236}">
                    <a16:creationId xmlns:a16="http://schemas.microsoft.com/office/drawing/2014/main" id="{22FD99DB-AE48-DF16-FCA3-ED786F9D50BC}"/>
                  </a:ext>
                </a:extLst>
              </p:cNvPr>
              <p:cNvSpPr/>
              <p:nvPr/>
            </p:nvSpPr>
            <p:spPr>
              <a:xfrm>
                <a:off x="3568362" y="6174597"/>
                <a:ext cx="385180" cy="373269"/>
              </a:xfrm>
              <a:prstGeom prst="ellipse">
                <a:avLst/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9233" name="Picture 17" descr="bad Icon 3266110">
                <a:extLst>
                  <a:ext uri="{FF2B5EF4-FFF2-40B4-BE49-F238E27FC236}">
                    <a16:creationId xmlns:a16="http://schemas.microsoft.com/office/drawing/2014/main" id="{A0B3603F-C207-B3C0-E9B6-B6FABB5F596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68362" y="6184671"/>
                <a:ext cx="385180" cy="38518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9219" name="그룹 9218">
            <a:extLst>
              <a:ext uri="{FF2B5EF4-FFF2-40B4-BE49-F238E27FC236}">
                <a16:creationId xmlns:a16="http://schemas.microsoft.com/office/drawing/2014/main" id="{0A4B1973-59A4-183D-452F-C58F8D008805}"/>
              </a:ext>
            </a:extLst>
          </p:cNvPr>
          <p:cNvGrpSpPr/>
          <p:nvPr/>
        </p:nvGrpSpPr>
        <p:grpSpPr>
          <a:xfrm>
            <a:off x="6090023" y="1871561"/>
            <a:ext cx="1576874" cy="3143854"/>
            <a:chOff x="2404749" y="1996608"/>
            <a:chExt cx="1576874" cy="3143854"/>
          </a:xfrm>
        </p:grpSpPr>
        <p:sp>
          <p:nvSpPr>
            <p:cNvPr id="9220" name="Rectangle 88">
              <a:extLst>
                <a:ext uri="{FF2B5EF4-FFF2-40B4-BE49-F238E27FC236}">
                  <a16:creationId xmlns:a16="http://schemas.microsoft.com/office/drawing/2014/main" id="{2A0E4B64-5B43-AB2E-D9C3-522EDB360DEF}"/>
                </a:ext>
              </a:extLst>
            </p:cNvPr>
            <p:cNvSpPr/>
            <p:nvPr/>
          </p:nvSpPr>
          <p:spPr>
            <a:xfrm>
              <a:off x="2531871" y="2633471"/>
              <a:ext cx="1449752" cy="917834"/>
            </a:xfrm>
            <a:prstGeom prst="rect">
              <a:avLst/>
            </a:prstGeom>
          </p:spPr>
          <p:txBody>
            <a:bodyPr wrap="square" lIns="0" tIns="0" rIns="0" bIns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7983D7"/>
                </a:buClr>
              </a:pPr>
              <a:r>
                <a:rPr lang="ko-KR" altLang="en-US" sz="1600" b="0" i="0" dirty="0" err="1">
                  <a:solidFill>
                    <a:schemeClr val="bg1"/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하차알림</a:t>
              </a:r>
              <a:r>
                <a:rPr lang="ko-KR" altLang="en-US" sz="1600" b="0" i="0" dirty="0">
                  <a:solidFill>
                    <a:schemeClr val="bg1"/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 기능</a:t>
              </a:r>
              <a:endParaRPr lang="en-US" altLang="ko-KR" sz="1600" b="0" i="0" dirty="0">
                <a:solidFill>
                  <a:schemeClr val="bg1"/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endParaRPr>
            </a:p>
            <a:p>
              <a:pPr>
                <a:spcBef>
                  <a:spcPts val="600"/>
                </a:spcBef>
                <a:buClr>
                  <a:srgbClr val="7983D7"/>
                </a:buClr>
              </a:pPr>
              <a:r>
                <a:rPr lang="ko-KR" altLang="en-US" sz="1600" dirty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지하철 혼잡도</a:t>
              </a:r>
              <a:endParaRPr lang="en-US" altLang="ko-KR" sz="1600" b="0" i="0" dirty="0">
                <a:solidFill>
                  <a:schemeClr val="bg1"/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endParaRPr>
            </a:p>
          </p:txBody>
        </p:sp>
        <p:sp>
          <p:nvSpPr>
            <p:cNvPr id="9221" name="Rectangle 89">
              <a:extLst>
                <a:ext uri="{FF2B5EF4-FFF2-40B4-BE49-F238E27FC236}">
                  <a16:creationId xmlns:a16="http://schemas.microsoft.com/office/drawing/2014/main" id="{80077A4C-3CCA-E7A8-4DE0-FD56638F628E}"/>
                </a:ext>
              </a:extLst>
            </p:cNvPr>
            <p:cNvSpPr/>
            <p:nvPr/>
          </p:nvSpPr>
          <p:spPr>
            <a:xfrm>
              <a:off x="2507843" y="4222628"/>
              <a:ext cx="1449752" cy="917834"/>
            </a:xfrm>
            <a:prstGeom prst="rect">
              <a:avLst/>
            </a:prstGeom>
          </p:spPr>
          <p:txBody>
            <a:bodyPr wrap="square" lIns="0" tIns="0" rIns="0" bIns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7983D7"/>
                </a:buClr>
              </a:pPr>
              <a:r>
                <a:rPr lang="ko-KR" altLang="en-US" sz="1400" b="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지하철 혼잡도 기능이 지원되는 지역이 적다</a:t>
              </a:r>
              <a:endParaRPr lang="en-US" altLang="ko-KR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endParaRPr>
            </a:p>
            <a:p>
              <a:pPr>
                <a:spcBef>
                  <a:spcPts val="600"/>
                </a:spcBef>
                <a:buClr>
                  <a:srgbClr val="7983D7"/>
                </a:buClr>
              </a:pPr>
              <a:r>
                <a:rPr lang="ko-KR" altLang="en-US" sz="1400" b="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일부 기종 </a:t>
              </a:r>
              <a:r>
                <a:rPr lang="ko-KR" altLang="en-US" sz="1400" b="0" i="0" dirty="0" err="1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하차알림</a:t>
              </a:r>
              <a:r>
                <a:rPr lang="ko-KR" altLang="en-US" sz="1400" b="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 제공 </a:t>
              </a:r>
              <a:r>
                <a:rPr lang="en-US" altLang="ko-KR" sz="1400" b="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x</a:t>
              </a:r>
            </a:p>
            <a:p>
              <a:pPr>
                <a:spcBef>
                  <a:spcPts val="600"/>
                </a:spcBef>
                <a:buClr>
                  <a:srgbClr val="7983D7"/>
                </a:buClr>
              </a:pPr>
              <a:endParaRPr lang="en-US" altLang="ko-KR" sz="1400" b="0" i="0" dirty="0">
                <a:solidFill>
                  <a:srgbClr val="7983D7"/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endParaRPr>
            </a:p>
          </p:txBody>
        </p:sp>
        <p:grpSp>
          <p:nvGrpSpPr>
            <p:cNvPr id="9222" name="그룹 9221">
              <a:extLst>
                <a:ext uri="{FF2B5EF4-FFF2-40B4-BE49-F238E27FC236}">
                  <a16:creationId xmlns:a16="http://schemas.microsoft.com/office/drawing/2014/main" id="{B578F773-3FE4-CEC8-7548-FD1A4F6D6EAD}"/>
                </a:ext>
              </a:extLst>
            </p:cNvPr>
            <p:cNvGrpSpPr/>
            <p:nvPr/>
          </p:nvGrpSpPr>
          <p:grpSpPr>
            <a:xfrm>
              <a:off x="2404749" y="1996608"/>
              <a:ext cx="651175" cy="651175"/>
              <a:chOff x="2377470" y="2293366"/>
              <a:chExt cx="651175" cy="651175"/>
            </a:xfrm>
          </p:grpSpPr>
          <p:sp>
            <p:nvSpPr>
              <p:cNvPr id="9226" name="Oval 161">
                <a:extLst>
                  <a:ext uri="{FF2B5EF4-FFF2-40B4-BE49-F238E27FC236}">
                    <a16:creationId xmlns:a16="http://schemas.microsoft.com/office/drawing/2014/main" id="{25254E0E-BA6F-75A1-80A3-ABFC712895F5}"/>
                  </a:ext>
                </a:extLst>
              </p:cNvPr>
              <p:cNvSpPr/>
              <p:nvPr/>
            </p:nvSpPr>
            <p:spPr>
              <a:xfrm>
                <a:off x="2510468" y="2429792"/>
                <a:ext cx="385180" cy="373269"/>
              </a:xfrm>
              <a:prstGeom prst="ellipse">
                <a:avLst/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9227" name="Picture 13" descr="good Icon 1095734">
                <a:extLst>
                  <a:ext uri="{FF2B5EF4-FFF2-40B4-BE49-F238E27FC236}">
                    <a16:creationId xmlns:a16="http://schemas.microsoft.com/office/drawing/2014/main" id="{58DB5C0A-1706-C51C-50BD-1563D471243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77470" y="2293366"/>
                <a:ext cx="651175" cy="6511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9223" name="그룹 9222">
              <a:extLst>
                <a:ext uri="{FF2B5EF4-FFF2-40B4-BE49-F238E27FC236}">
                  <a16:creationId xmlns:a16="http://schemas.microsoft.com/office/drawing/2014/main" id="{5A054C56-150D-AFDE-2270-053A85EB315E}"/>
                </a:ext>
              </a:extLst>
            </p:cNvPr>
            <p:cNvGrpSpPr/>
            <p:nvPr/>
          </p:nvGrpSpPr>
          <p:grpSpPr>
            <a:xfrm>
              <a:off x="2535851" y="3688092"/>
              <a:ext cx="385180" cy="395254"/>
              <a:chOff x="3568362" y="6174597"/>
              <a:chExt cx="385180" cy="395254"/>
            </a:xfrm>
          </p:grpSpPr>
          <p:sp>
            <p:nvSpPr>
              <p:cNvPr id="9224" name="Oval 161">
                <a:extLst>
                  <a:ext uri="{FF2B5EF4-FFF2-40B4-BE49-F238E27FC236}">
                    <a16:creationId xmlns:a16="http://schemas.microsoft.com/office/drawing/2014/main" id="{AF7E206D-1E2E-F00A-CFE9-EF0F315F34F7}"/>
                  </a:ext>
                </a:extLst>
              </p:cNvPr>
              <p:cNvSpPr/>
              <p:nvPr/>
            </p:nvSpPr>
            <p:spPr>
              <a:xfrm>
                <a:off x="3568362" y="6174597"/>
                <a:ext cx="385180" cy="373269"/>
              </a:xfrm>
              <a:prstGeom prst="ellipse">
                <a:avLst/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9225" name="Picture 17" descr="bad Icon 3266110">
                <a:extLst>
                  <a:ext uri="{FF2B5EF4-FFF2-40B4-BE49-F238E27FC236}">
                    <a16:creationId xmlns:a16="http://schemas.microsoft.com/office/drawing/2014/main" id="{38676E3B-312A-01FE-F75F-54753D78BAD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68362" y="6184671"/>
                <a:ext cx="385180" cy="38518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9228" name="그룹 9227">
            <a:extLst>
              <a:ext uri="{FF2B5EF4-FFF2-40B4-BE49-F238E27FC236}">
                <a16:creationId xmlns:a16="http://schemas.microsoft.com/office/drawing/2014/main" id="{77EFEF07-CC41-8C84-7C16-E51251DBEE9B}"/>
              </a:ext>
            </a:extLst>
          </p:cNvPr>
          <p:cNvGrpSpPr/>
          <p:nvPr/>
        </p:nvGrpSpPr>
        <p:grpSpPr>
          <a:xfrm>
            <a:off x="9887230" y="1889239"/>
            <a:ext cx="1928043" cy="3143854"/>
            <a:chOff x="2404749" y="1996608"/>
            <a:chExt cx="1928043" cy="3143854"/>
          </a:xfrm>
        </p:grpSpPr>
        <p:sp>
          <p:nvSpPr>
            <p:cNvPr id="9230" name="Rectangle 88">
              <a:extLst>
                <a:ext uri="{FF2B5EF4-FFF2-40B4-BE49-F238E27FC236}">
                  <a16:creationId xmlns:a16="http://schemas.microsoft.com/office/drawing/2014/main" id="{B4F25874-B4B3-FF1D-ADF1-40FE1BE8B873}"/>
                </a:ext>
              </a:extLst>
            </p:cNvPr>
            <p:cNvSpPr/>
            <p:nvPr/>
          </p:nvSpPr>
          <p:spPr>
            <a:xfrm>
              <a:off x="2531565" y="2625032"/>
              <a:ext cx="1801227" cy="917834"/>
            </a:xfrm>
            <a:prstGeom prst="rect">
              <a:avLst/>
            </a:prstGeom>
          </p:spPr>
          <p:txBody>
            <a:bodyPr wrap="square" lIns="0" tIns="0" rIns="0" bIns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7983D7"/>
                </a:buClr>
              </a:pPr>
              <a:r>
                <a:rPr lang="ko-KR" altLang="en-US" sz="1600" b="0" i="0" dirty="0">
                  <a:solidFill>
                    <a:schemeClr val="bg1"/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메모 기능</a:t>
              </a:r>
              <a:r>
                <a:rPr lang="en-US" altLang="ko-KR" sz="1600" dirty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       </a:t>
              </a:r>
              <a:r>
                <a:rPr lang="ko-KR" altLang="en-US" sz="1600" b="0" i="0" dirty="0" err="1">
                  <a:solidFill>
                    <a:schemeClr val="bg1"/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거리뷰</a:t>
              </a:r>
              <a:r>
                <a:rPr lang="en-US" altLang="ko-KR" sz="1600" dirty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          </a:t>
              </a:r>
              <a:r>
                <a:rPr lang="ko-KR" altLang="en-US" sz="1600" dirty="0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용도에 맞는 </a:t>
              </a:r>
              <a:r>
                <a:rPr lang="ko-KR" altLang="en-US" sz="1600" dirty="0" err="1">
                  <a:solidFill>
                    <a:schemeClr val="bg1"/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길찾기</a:t>
              </a:r>
              <a:endParaRPr lang="en-US" altLang="ko-KR" sz="1600" b="0" i="0" dirty="0">
                <a:solidFill>
                  <a:schemeClr val="bg1"/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endParaRPr>
            </a:p>
          </p:txBody>
        </p:sp>
        <p:sp>
          <p:nvSpPr>
            <p:cNvPr id="9232" name="Rectangle 89">
              <a:extLst>
                <a:ext uri="{FF2B5EF4-FFF2-40B4-BE49-F238E27FC236}">
                  <a16:creationId xmlns:a16="http://schemas.microsoft.com/office/drawing/2014/main" id="{BC232B98-C560-69AE-236D-8257005E4903}"/>
                </a:ext>
              </a:extLst>
            </p:cNvPr>
            <p:cNvSpPr/>
            <p:nvPr/>
          </p:nvSpPr>
          <p:spPr>
            <a:xfrm>
              <a:off x="2507843" y="4222628"/>
              <a:ext cx="1449752" cy="917834"/>
            </a:xfrm>
            <a:prstGeom prst="rect">
              <a:avLst/>
            </a:prstGeom>
          </p:spPr>
          <p:txBody>
            <a:bodyPr wrap="square" lIns="0" tIns="0" rIns="0" bIns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7983D7"/>
                </a:buClr>
              </a:pPr>
              <a:r>
                <a:rPr lang="ko-KR" altLang="en-US" sz="1400" b="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적은 정보량</a:t>
              </a:r>
              <a:endParaRPr lang="en-US" altLang="ko-KR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endParaRPr>
            </a:p>
            <a:p>
              <a:pPr>
                <a:spcBef>
                  <a:spcPts val="600"/>
                </a:spcBef>
                <a:buClr>
                  <a:srgbClr val="7983D7"/>
                </a:buClr>
              </a:pPr>
              <a:r>
                <a:rPr lang="ko-KR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메모 글자수 제한</a:t>
              </a:r>
              <a:endParaRPr lang="en-US" altLang="ko-KR" sz="1400" dirty="0">
                <a:solidFill>
                  <a:srgbClr val="7983D7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endParaRPr>
            </a:p>
          </p:txBody>
        </p:sp>
        <p:grpSp>
          <p:nvGrpSpPr>
            <p:cNvPr id="9234" name="그룹 9233">
              <a:extLst>
                <a:ext uri="{FF2B5EF4-FFF2-40B4-BE49-F238E27FC236}">
                  <a16:creationId xmlns:a16="http://schemas.microsoft.com/office/drawing/2014/main" id="{ACA3B8FD-A135-F34E-4D96-3B480C0A019E}"/>
                </a:ext>
              </a:extLst>
            </p:cNvPr>
            <p:cNvGrpSpPr/>
            <p:nvPr/>
          </p:nvGrpSpPr>
          <p:grpSpPr>
            <a:xfrm>
              <a:off x="2404749" y="1996608"/>
              <a:ext cx="651175" cy="651175"/>
              <a:chOff x="2377470" y="2293366"/>
              <a:chExt cx="651175" cy="651175"/>
            </a:xfrm>
          </p:grpSpPr>
          <p:sp>
            <p:nvSpPr>
              <p:cNvPr id="9238" name="Oval 161">
                <a:extLst>
                  <a:ext uri="{FF2B5EF4-FFF2-40B4-BE49-F238E27FC236}">
                    <a16:creationId xmlns:a16="http://schemas.microsoft.com/office/drawing/2014/main" id="{CDCE5761-E3E3-D477-23C6-0AFD7ABDE140}"/>
                  </a:ext>
                </a:extLst>
              </p:cNvPr>
              <p:cNvSpPr/>
              <p:nvPr/>
            </p:nvSpPr>
            <p:spPr>
              <a:xfrm>
                <a:off x="2510468" y="2429792"/>
                <a:ext cx="385180" cy="373269"/>
              </a:xfrm>
              <a:prstGeom prst="ellipse">
                <a:avLst/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9239" name="Picture 13" descr="good Icon 1095734">
                <a:extLst>
                  <a:ext uri="{FF2B5EF4-FFF2-40B4-BE49-F238E27FC236}">
                    <a16:creationId xmlns:a16="http://schemas.microsoft.com/office/drawing/2014/main" id="{E074802A-7BFB-8B63-2182-08F1FE9EA44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77470" y="2293366"/>
                <a:ext cx="651175" cy="6511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9235" name="그룹 9234">
              <a:extLst>
                <a:ext uri="{FF2B5EF4-FFF2-40B4-BE49-F238E27FC236}">
                  <a16:creationId xmlns:a16="http://schemas.microsoft.com/office/drawing/2014/main" id="{596861D8-31D0-3668-A093-CC91C5C7DAFB}"/>
                </a:ext>
              </a:extLst>
            </p:cNvPr>
            <p:cNvGrpSpPr/>
            <p:nvPr/>
          </p:nvGrpSpPr>
          <p:grpSpPr>
            <a:xfrm>
              <a:off x="2535851" y="3688092"/>
              <a:ext cx="385180" cy="395254"/>
              <a:chOff x="3568362" y="6174597"/>
              <a:chExt cx="385180" cy="395254"/>
            </a:xfrm>
          </p:grpSpPr>
          <p:sp>
            <p:nvSpPr>
              <p:cNvPr id="9236" name="Oval 161">
                <a:extLst>
                  <a:ext uri="{FF2B5EF4-FFF2-40B4-BE49-F238E27FC236}">
                    <a16:creationId xmlns:a16="http://schemas.microsoft.com/office/drawing/2014/main" id="{A602077D-DEB2-28E1-06BD-D7D15ACD88CE}"/>
                  </a:ext>
                </a:extLst>
              </p:cNvPr>
              <p:cNvSpPr/>
              <p:nvPr/>
            </p:nvSpPr>
            <p:spPr>
              <a:xfrm>
                <a:off x="3568362" y="6174597"/>
                <a:ext cx="385180" cy="373269"/>
              </a:xfrm>
              <a:prstGeom prst="ellipse">
                <a:avLst/>
              </a:prstGeom>
              <a:gradFill>
                <a:gsLst>
                  <a:gs pos="100000">
                    <a:srgbClr val="4757B8"/>
                  </a:gs>
                  <a:gs pos="38000">
                    <a:srgbClr val="7983D7"/>
                  </a:gs>
                </a:gsLst>
                <a:lin ang="81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9237" name="Picture 17" descr="bad Icon 3266110">
                <a:extLst>
                  <a:ext uri="{FF2B5EF4-FFF2-40B4-BE49-F238E27FC236}">
                    <a16:creationId xmlns:a16="http://schemas.microsoft.com/office/drawing/2014/main" id="{0B5ED251-17B3-144E-9737-40B669DDDC0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68362" y="6184671"/>
                <a:ext cx="385180" cy="38518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20570303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0" name="그룹 159">
            <a:extLst>
              <a:ext uri="{FF2B5EF4-FFF2-40B4-BE49-F238E27FC236}">
                <a16:creationId xmlns:a16="http://schemas.microsoft.com/office/drawing/2014/main" id="{8E227264-21C5-DB80-0F55-AA30A6952C4E}"/>
              </a:ext>
            </a:extLst>
          </p:cNvPr>
          <p:cNvGrpSpPr>
            <a:grpSpLocks/>
          </p:cNvGrpSpPr>
          <p:nvPr/>
        </p:nvGrpSpPr>
        <p:grpSpPr>
          <a:xfrm>
            <a:off x="5239934" y="2273026"/>
            <a:ext cx="5985205" cy="2386403"/>
            <a:chOff x="5830068" y="830566"/>
            <a:chExt cx="5985205" cy="2386403"/>
          </a:xfrm>
        </p:grpSpPr>
        <p:grpSp>
          <p:nvGrpSpPr>
            <p:cNvPr id="157" name="그룹 156">
              <a:extLst>
                <a:ext uri="{FF2B5EF4-FFF2-40B4-BE49-F238E27FC236}">
                  <a16:creationId xmlns:a16="http://schemas.microsoft.com/office/drawing/2014/main" id="{AF98B8B1-0679-1320-075A-4843BB896727}"/>
                </a:ext>
              </a:extLst>
            </p:cNvPr>
            <p:cNvGrpSpPr>
              <a:grpSpLocks/>
            </p:cNvGrpSpPr>
            <p:nvPr/>
          </p:nvGrpSpPr>
          <p:grpSpPr>
            <a:xfrm>
              <a:off x="5830068" y="1774325"/>
              <a:ext cx="5985205" cy="1442644"/>
              <a:chOff x="5830068" y="1774325"/>
              <a:chExt cx="5985205" cy="1442644"/>
            </a:xfrm>
          </p:grpSpPr>
          <p:sp>
            <p:nvSpPr>
              <p:cNvPr id="154" name="Rectangle: Rounded Corners 67">
                <a:extLst>
                  <a:ext uri="{FF2B5EF4-FFF2-40B4-BE49-F238E27FC236}">
                    <a16:creationId xmlns:a16="http://schemas.microsoft.com/office/drawing/2014/main" id="{BA3FA76C-E8F8-CC76-4A5A-3598E202145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862415" y="1774325"/>
                <a:ext cx="5952858" cy="498885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2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HY견고딕" panose="02030600000101010101" pitchFamily="18" charset="-127"/>
                    <a:ea typeface="HY견고딕" panose="02030600000101010101" pitchFamily="18" charset="-127"/>
                    <a:cs typeface="Segoe UI" panose="020B0502040204020203" pitchFamily="34" charset="0"/>
                  </a:rPr>
                  <a:t>귀찮음</a:t>
                </a:r>
                <a:r>
                  <a:rPr lang="en-US" altLang="ko-KR" sz="2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HY견고딕" panose="02030600000101010101" pitchFamily="18" charset="-127"/>
                    <a:ea typeface="HY견고딕" panose="02030600000101010101" pitchFamily="18" charset="-127"/>
                    <a:cs typeface="Segoe UI" panose="020B0502040204020203" pitchFamily="34" charset="0"/>
                  </a:rPr>
                  <a:t>, </a:t>
                </a:r>
                <a:r>
                  <a:rPr lang="ko-KR" altLang="en-US" sz="2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HY견고딕" panose="02030600000101010101" pitchFamily="18" charset="-127"/>
                    <a:ea typeface="HY견고딕" panose="02030600000101010101" pitchFamily="18" charset="-127"/>
                    <a:cs typeface="Segoe UI" panose="020B0502040204020203" pitchFamily="34" charset="0"/>
                  </a:rPr>
                  <a:t>불안감 제거</a:t>
                </a:r>
                <a:endParaRPr lang="en-US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155" name="Rectangle: Rounded Corners 67">
                <a:extLst>
                  <a:ext uri="{FF2B5EF4-FFF2-40B4-BE49-F238E27FC236}">
                    <a16:creationId xmlns:a16="http://schemas.microsoft.com/office/drawing/2014/main" id="{3881F92E-EF5E-75B6-B72B-4EA325721BB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830068" y="2718084"/>
                <a:ext cx="5952858" cy="498885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2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HY견고딕" panose="02030600000101010101" pitchFamily="18" charset="-127"/>
                    <a:ea typeface="HY견고딕" panose="02030600000101010101" pitchFamily="18" charset="-127"/>
                    <a:cs typeface="Segoe UI" panose="020B0502040204020203" pitchFamily="34" charset="0"/>
                  </a:rPr>
                  <a:t>사용자의 삶의 질 향상에 기여</a:t>
                </a:r>
                <a:endParaRPr lang="en-US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endParaRPr>
              </a:p>
            </p:txBody>
          </p:sp>
          <p:sp>
            <p:nvSpPr>
              <p:cNvPr id="156" name="화살표: 아래쪽 155">
                <a:extLst>
                  <a:ext uri="{FF2B5EF4-FFF2-40B4-BE49-F238E27FC236}">
                    <a16:creationId xmlns:a16="http://schemas.microsoft.com/office/drawing/2014/main" id="{4354DFC4-3C74-3EA3-C329-1B982EB801B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599289" y="2307885"/>
                <a:ext cx="414416" cy="410199"/>
              </a:xfrm>
              <a:prstGeom prst="downArrow">
                <a:avLst/>
              </a:prstGeom>
              <a:solidFill>
                <a:srgbClr val="40404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158" name="Rectangle: Rounded Corners 67">
              <a:extLst>
                <a:ext uri="{FF2B5EF4-FFF2-40B4-BE49-F238E27FC236}">
                  <a16:creationId xmlns:a16="http://schemas.microsoft.com/office/drawing/2014/main" id="{3571B3FB-0CEE-35A9-C7B3-43DD8BC8BDE7}"/>
                </a:ext>
              </a:extLst>
            </p:cNvPr>
            <p:cNvSpPr>
              <a:spLocks/>
            </p:cNvSpPr>
            <p:nvPr/>
          </p:nvSpPr>
          <p:spPr>
            <a:xfrm>
              <a:off x="5862415" y="830566"/>
              <a:ext cx="5952858" cy="498885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HY견고딕" panose="02030600000101010101" pitchFamily="18" charset="-127"/>
                  <a:ea typeface="HY견고딕" panose="02030600000101010101" pitchFamily="18" charset="-127"/>
                  <a:cs typeface="Segoe UI" panose="020B0502040204020203" pitchFamily="34" charset="0"/>
                </a:rPr>
                <a:t>앱이 교통편을 찾아준다</a:t>
              </a:r>
              <a:endPara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endParaRPr>
            </a:p>
          </p:txBody>
        </p:sp>
        <p:sp>
          <p:nvSpPr>
            <p:cNvPr id="159" name="화살표: 아래쪽 158">
              <a:extLst>
                <a:ext uri="{FF2B5EF4-FFF2-40B4-BE49-F238E27FC236}">
                  <a16:creationId xmlns:a16="http://schemas.microsoft.com/office/drawing/2014/main" id="{DC7C365E-A498-D539-4711-211AFCE19420}"/>
                </a:ext>
              </a:extLst>
            </p:cNvPr>
            <p:cNvSpPr>
              <a:spLocks/>
            </p:cNvSpPr>
            <p:nvPr/>
          </p:nvSpPr>
          <p:spPr>
            <a:xfrm>
              <a:off x="8599289" y="1364126"/>
              <a:ext cx="414416" cy="410199"/>
            </a:xfrm>
            <a:prstGeom prst="downArrow">
              <a:avLst/>
            </a:prstGeom>
            <a:solidFill>
              <a:srgbClr val="4040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11274" name="Picture 10" descr="Lady Holding Phone Images – Browse 177,548 Stock Photos, Vectors, and Video  | Adobe Stock">
            <a:extLst>
              <a:ext uri="{FF2B5EF4-FFF2-40B4-BE49-F238E27FC236}">
                <a16:creationId xmlns:a16="http://schemas.microsoft.com/office/drawing/2014/main" id="{7DE791BD-755F-639A-6C65-D06F585DDB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67" r="8910"/>
          <a:stretch/>
        </p:blipFill>
        <p:spPr bwMode="auto">
          <a:xfrm>
            <a:off x="1" y="0"/>
            <a:ext cx="539718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055881-0987-4E8D-9868-57D3568DCC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2310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055881-0987-4E8D-9868-57D3568DCC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E42EB6E2-C9EB-45B8-BED6-A375365933E9}"/>
              </a:ext>
            </a:extLst>
          </p:cNvPr>
          <p:cNvSpPr/>
          <p:nvPr/>
        </p:nvSpPr>
        <p:spPr>
          <a:xfrm>
            <a:off x="0" y="0"/>
            <a:ext cx="5397190" cy="6858000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9" name="Group 75">
            <a:extLst>
              <a:ext uri="{FF2B5EF4-FFF2-40B4-BE49-F238E27FC236}">
                <a16:creationId xmlns:a16="http://schemas.microsoft.com/office/drawing/2014/main" id="{DBAFB00B-514C-D459-B026-7EF300E35597}"/>
              </a:ext>
            </a:extLst>
          </p:cNvPr>
          <p:cNvGrpSpPr/>
          <p:nvPr/>
        </p:nvGrpSpPr>
        <p:grpSpPr>
          <a:xfrm>
            <a:off x="541944" y="342579"/>
            <a:ext cx="622326" cy="131948"/>
            <a:chOff x="692712" y="619597"/>
            <a:chExt cx="622326" cy="131948"/>
          </a:xfrm>
        </p:grpSpPr>
        <p:sp>
          <p:nvSpPr>
            <p:cNvPr id="150" name="Oval 76">
              <a:extLst>
                <a:ext uri="{FF2B5EF4-FFF2-40B4-BE49-F238E27FC236}">
                  <a16:creationId xmlns:a16="http://schemas.microsoft.com/office/drawing/2014/main" id="{CCFBD5C8-91BB-84EC-AB91-637D1EE15DA4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7983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" name="Oval 77">
              <a:extLst>
                <a:ext uri="{FF2B5EF4-FFF2-40B4-BE49-F238E27FC236}">
                  <a16:creationId xmlns:a16="http://schemas.microsoft.com/office/drawing/2014/main" id="{B1BFDD4F-55B0-079C-69C8-67D652229FBC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" name="Oval 78">
              <a:extLst>
                <a:ext uri="{FF2B5EF4-FFF2-40B4-BE49-F238E27FC236}">
                  <a16:creationId xmlns:a16="http://schemas.microsoft.com/office/drawing/2014/main" id="{F20DEE09-18D2-6E34-602D-EE20E75E3BC8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53" name="Title 3">
            <a:extLst>
              <a:ext uri="{FF2B5EF4-FFF2-40B4-BE49-F238E27FC236}">
                <a16:creationId xmlns:a16="http://schemas.microsoft.com/office/drawing/2014/main" id="{1D4B1044-A345-0508-F504-B42EA08FD767}"/>
              </a:ext>
            </a:extLst>
          </p:cNvPr>
          <p:cNvSpPr txBox="1">
            <a:spLocks/>
          </p:cNvSpPr>
          <p:nvPr/>
        </p:nvSpPr>
        <p:spPr>
          <a:xfrm>
            <a:off x="541944" y="705388"/>
            <a:ext cx="2604567" cy="8052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o-KR" altLang="en-US" sz="360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기대효과</a:t>
            </a:r>
            <a:endParaRPr lang="en-US" sz="3600" dirty="0">
              <a:solidFill>
                <a:schemeClr val="bg1"/>
              </a:solidFill>
              <a:latin typeface="HY견고딕" panose="02030600000101010101" pitchFamily="18" charset="-127"/>
              <a:ea typeface="HY견고딕" panose="02030600000101010101" pitchFamily="18" charset="-127"/>
              <a:cs typeface="Segoe UI" panose="020B0502040204020203" pitchFamily="34" charset="0"/>
            </a:endParaRPr>
          </a:p>
        </p:txBody>
      </p:sp>
      <p:grpSp>
        <p:nvGrpSpPr>
          <p:cNvPr id="161" name="그룹 160">
            <a:extLst>
              <a:ext uri="{FF2B5EF4-FFF2-40B4-BE49-F238E27FC236}">
                <a16:creationId xmlns:a16="http://schemas.microsoft.com/office/drawing/2014/main" id="{B55B9D0D-A71D-492E-BFE0-B28904C63E3D}"/>
              </a:ext>
            </a:extLst>
          </p:cNvPr>
          <p:cNvGrpSpPr/>
          <p:nvPr/>
        </p:nvGrpSpPr>
        <p:grpSpPr>
          <a:xfrm>
            <a:off x="2077821" y="948969"/>
            <a:ext cx="3931651" cy="5533402"/>
            <a:chOff x="4337640" y="463715"/>
            <a:chExt cx="3931651" cy="5948634"/>
          </a:xfrm>
        </p:grpSpPr>
        <p:grpSp>
          <p:nvGrpSpPr>
            <p:cNvPr id="162" name="그룹 161">
              <a:extLst>
                <a:ext uri="{FF2B5EF4-FFF2-40B4-BE49-F238E27FC236}">
                  <a16:creationId xmlns:a16="http://schemas.microsoft.com/office/drawing/2014/main" id="{BC7DDB79-31A8-4AB6-710D-A8386153D2FB}"/>
                </a:ext>
              </a:extLst>
            </p:cNvPr>
            <p:cNvGrpSpPr/>
            <p:nvPr/>
          </p:nvGrpSpPr>
          <p:grpSpPr>
            <a:xfrm>
              <a:off x="5008612" y="650313"/>
              <a:ext cx="2561481" cy="5429250"/>
              <a:chOff x="5008612" y="650313"/>
              <a:chExt cx="2561481" cy="5429250"/>
            </a:xfrm>
          </p:grpSpPr>
          <p:grpSp>
            <p:nvGrpSpPr>
              <p:cNvPr id="164" name="Group 110">
                <a:extLst>
                  <a:ext uri="{FF2B5EF4-FFF2-40B4-BE49-F238E27FC236}">
                    <a16:creationId xmlns:a16="http://schemas.microsoft.com/office/drawing/2014/main" id="{6CFEBDA7-6B0F-F83F-CA43-DA09CF3A628E}"/>
                  </a:ext>
                </a:extLst>
              </p:cNvPr>
              <p:cNvGrpSpPr/>
              <p:nvPr/>
            </p:nvGrpSpPr>
            <p:grpSpPr>
              <a:xfrm>
                <a:off x="5008612" y="650313"/>
                <a:ext cx="2561481" cy="5429250"/>
                <a:chOff x="5220361" y="638174"/>
                <a:chExt cx="2561481" cy="5429250"/>
              </a:xfrm>
            </p:grpSpPr>
            <p:grpSp>
              <p:nvGrpSpPr>
                <p:cNvPr id="166" name="Group 100">
                  <a:extLst>
                    <a:ext uri="{FF2B5EF4-FFF2-40B4-BE49-F238E27FC236}">
                      <a16:creationId xmlns:a16="http://schemas.microsoft.com/office/drawing/2014/main" id="{B6131E6E-9F2F-AA9D-710D-C1F786588E59}"/>
                    </a:ext>
                  </a:extLst>
                </p:cNvPr>
                <p:cNvGrpSpPr/>
                <p:nvPr/>
              </p:nvGrpSpPr>
              <p:grpSpPr>
                <a:xfrm>
                  <a:off x="5220361" y="638174"/>
                  <a:ext cx="2561481" cy="5429250"/>
                  <a:chOff x="5220361" y="638174"/>
                  <a:chExt cx="2561481" cy="5429250"/>
                </a:xfrm>
              </p:grpSpPr>
              <p:sp>
                <p:nvSpPr>
                  <p:cNvPr id="168" name="Rectangle: Rounded Corners 94">
                    <a:extLst>
                      <a:ext uri="{FF2B5EF4-FFF2-40B4-BE49-F238E27FC236}">
                        <a16:creationId xmlns:a16="http://schemas.microsoft.com/office/drawing/2014/main" id="{3ACC00E3-68C4-5496-6DF3-B5F7AB75A6DE}"/>
                      </a:ext>
                    </a:extLst>
                  </p:cNvPr>
                  <p:cNvSpPr/>
                  <p:nvPr/>
                </p:nvSpPr>
                <p:spPr>
                  <a:xfrm>
                    <a:off x="5220361" y="638174"/>
                    <a:ext cx="2561481" cy="5429250"/>
                  </a:xfrm>
                  <a:prstGeom prst="roundRect">
                    <a:avLst>
                      <a:gd name="adj" fmla="val 7098"/>
                    </a:avLst>
                  </a:prstGeom>
                  <a:gradFill>
                    <a:gsLst>
                      <a:gs pos="100000">
                        <a:srgbClr val="4757B8"/>
                      </a:gs>
                      <a:gs pos="38000">
                        <a:srgbClr val="7983D7"/>
                      </a:gs>
                    </a:gsLst>
                    <a:lin ang="8100000" scaled="1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69" name="Freeform: Shape 99">
                    <a:extLst>
                      <a:ext uri="{FF2B5EF4-FFF2-40B4-BE49-F238E27FC236}">
                        <a16:creationId xmlns:a16="http://schemas.microsoft.com/office/drawing/2014/main" id="{69EFFF49-5CA3-5DE5-1F49-E21FF0C436FE}"/>
                      </a:ext>
                    </a:extLst>
                  </p:cNvPr>
                  <p:cNvSpPr/>
                  <p:nvPr/>
                </p:nvSpPr>
                <p:spPr>
                  <a:xfrm>
                    <a:off x="5220361" y="656677"/>
                    <a:ext cx="2561481" cy="5405917"/>
                  </a:xfrm>
                  <a:custGeom>
                    <a:avLst/>
                    <a:gdLst>
                      <a:gd name="connsiteX0" fmla="*/ 2463852 w 2561481"/>
                      <a:gd name="connsiteY0" fmla="*/ 0 h 5405917"/>
                      <a:gd name="connsiteX1" fmla="*/ 2508229 w 2561481"/>
                      <a:gd name="connsiteY1" fmla="*/ 29919 h 5405917"/>
                      <a:gd name="connsiteX2" fmla="*/ 2561481 w 2561481"/>
                      <a:gd name="connsiteY2" fmla="*/ 158481 h 5405917"/>
                      <a:gd name="connsiteX3" fmla="*/ 2561481 w 2561481"/>
                      <a:gd name="connsiteY3" fmla="*/ 5224103 h 5405917"/>
                      <a:gd name="connsiteX4" fmla="*/ 2379667 w 2561481"/>
                      <a:gd name="connsiteY4" fmla="*/ 5405917 h 5405917"/>
                      <a:gd name="connsiteX5" fmla="*/ 181814 w 2561481"/>
                      <a:gd name="connsiteY5" fmla="*/ 5405917 h 5405917"/>
                      <a:gd name="connsiteX6" fmla="*/ 0 w 2561481"/>
                      <a:gd name="connsiteY6" fmla="*/ 5224103 h 5405917"/>
                      <a:gd name="connsiteX7" fmla="*/ 0 w 2561481"/>
                      <a:gd name="connsiteY7" fmla="*/ 5219587 h 54059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561481" h="5405917">
                        <a:moveTo>
                          <a:pt x="2463852" y="0"/>
                        </a:moveTo>
                        <a:lnTo>
                          <a:pt x="2508229" y="29919"/>
                        </a:lnTo>
                        <a:cubicBezTo>
                          <a:pt x="2541131" y="62821"/>
                          <a:pt x="2561481" y="108275"/>
                          <a:pt x="2561481" y="158481"/>
                        </a:cubicBezTo>
                        <a:lnTo>
                          <a:pt x="2561481" y="5224103"/>
                        </a:lnTo>
                        <a:cubicBezTo>
                          <a:pt x="2561481" y="5324516"/>
                          <a:pt x="2480080" y="5405917"/>
                          <a:pt x="2379667" y="5405917"/>
                        </a:cubicBezTo>
                        <a:lnTo>
                          <a:pt x="181814" y="5405917"/>
                        </a:lnTo>
                        <a:cubicBezTo>
                          <a:pt x="81401" y="5405917"/>
                          <a:pt x="0" y="5324516"/>
                          <a:pt x="0" y="5224103"/>
                        </a:cubicBezTo>
                        <a:lnTo>
                          <a:pt x="0" y="5219587"/>
                        </a:lnTo>
                        <a:close/>
                      </a:path>
                    </a:pathLst>
                  </a:custGeom>
                  <a:solidFill>
                    <a:schemeClr val="bg1">
                      <a:alpha val="1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 dirty="0"/>
                  </a:p>
                </p:txBody>
              </p:sp>
            </p:grpSp>
            <p:sp>
              <p:nvSpPr>
                <p:cNvPr id="167" name="Oval 101">
                  <a:extLst>
                    <a:ext uri="{FF2B5EF4-FFF2-40B4-BE49-F238E27FC236}">
                      <a16:creationId xmlns:a16="http://schemas.microsoft.com/office/drawing/2014/main" id="{E57DEAAE-2037-CD0A-1092-3D12C8F12607}"/>
                    </a:ext>
                  </a:extLst>
                </p:cNvPr>
                <p:cNvSpPr/>
                <p:nvPr/>
              </p:nvSpPr>
              <p:spPr>
                <a:xfrm>
                  <a:off x="6092328" y="2944026"/>
                  <a:ext cx="817546" cy="817546"/>
                </a:xfrm>
                <a:prstGeom prst="ellipse">
                  <a:avLst/>
                </a:prstGeom>
                <a:solidFill>
                  <a:srgbClr val="EBECF9"/>
                </a:solidFill>
                <a:ln>
                  <a:noFill/>
                </a:ln>
                <a:effectLst>
                  <a:outerShdw blurRad="50800" dist="38100" dir="2700000" algn="tl" rotWithShape="0">
                    <a:srgbClr val="4757B8">
                      <a:alpha val="40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65" name="두루마리 모양: 가로로 말림 164">
                <a:extLst>
                  <a:ext uri="{FF2B5EF4-FFF2-40B4-BE49-F238E27FC236}">
                    <a16:creationId xmlns:a16="http://schemas.microsoft.com/office/drawing/2014/main" id="{DAE1036F-B731-71F5-6AD1-EC3DCF315A60}"/>
                  </a:ext>
                </a:extLst>
              </p:cNvPr>
              <p:cNvSpPr/>
              <p:nvPr/>
            </p:nvSpPr>
            <p:spPr>
              <a:xfrm>
                <a:off x="6060250" y="3172616"/>
                <a:ext cx="458203" cy="414215"/>
              </a:xfrm>
              <a:prstGeom prst="horizontalScroll">
                <a:avLst/>
              </a:prstGeom>
              <a:solidFill>
                <a:srgbClr val="8790D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pic>
          <p:nvPicPr>
            <p:cNvPr id="163" name="Picture 56">
              <a:extLst>
                <a:ext uri="{FF2B5EF4-FFF2-40B4-BE49-F238E27FC236}">
                  <a16:creationId xmlns:a16="http://schemas.microsoft.com/office/drawing/2014/main" id="{8296E5E7-976D-F205-4BD4-DA696DC1629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37640" y="463715"/>
              <a:ext cx="3931651" cy="59486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18468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72" name="Picture 8" descr="8,495 Question Marks Stock Photos - Free &amp; Royalty-Free Stock Photos from  Dreamstime">
            <a:extLst>
              <a:ext uri="{FF2B5EF4-FFF2-40B4-BE49-F238E27FC236}">
                <a16:creationId xmlns:a16="http://schemas.microsoft.com/office/drawing/2014/main" id="{C26CD65E-37D7-FC8B-8A13-F7A92CFBD5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0" cy="5257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055881-0987-4E8D-9868-57D3568DCC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055881-0987-4E8D-9868-57D3568DCC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E42EB6E2-C9EB-45B8-BED6-A375365933E9}"/>
              </a:ext>
            </a:extLst>
          </p:cNvPr>
          <p:cNvSpPr/>
          <p:nvPr/>
        </p:nvSpPr>
        <p:spPr>
          <a:xfrm>
            <a:off x="0" y="0"/>
            <a:ext cx="12192000" cy="5257798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8" name="Rectangle: Rounded Corners 6">
            <a:extLst>
              <a:ext uri="{FF2B5EF4-FFF2-40B4-BE49-F238E27FC236}">
                <a16:creationId xmlns:a16="http://schemas.microsoft.com/office/drawing/2014/main" id="{257AF617-72FB-6CF3-94B1-17A77C3EC570}"/>
              </a:ext>
            </a:extLst>
          </p:cNvPr>
          <p:cNvSpPr/>
          <p:nvPr/>
        </p:nvSpPr>
        <p:spPr>
          <a:xfrm>
            <a:off x="3957407" y="2944472"/>
            <a:ext cx="4277185" cy="66432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4757B8"/>
              </a:gs>
              <a:gs pos="94000">
                <a:srgbClr val="7983D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A671BDED-9331-4977-AE2A-348200944040}"/>
              </a:ext>
            </a:extLst>
          </p:cNvPr>
          <p:cNvSpPr txBox="1">
            <a:spLocks/>
          </p:cNvSpPr>
          <p:nvPr/>
        </p:nvSpPr>
        <p:spPr>
          <a:xfrm>
            <a:off x="4153078" y="1614344"/>
            <a:ext cx="3885844" cy="25281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ko-KR" altLang="en-US" sz="72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  <a:cs typeface="Segoe UI" panose="020B0502040204020203" pitchFamily="34" charset="0"/>
              </a:rPr>
              <a:t>질의응답</a:t>
            </a:r>
            <a:endParaRPr lang="en-US" sz="7200" b="1" dirty="0">
              <a:solidFill>
                <a:schemeClr val="bg1"/>
              </a:solidFill>
              <a:latin typeface="HY견고딕" panose="02030600000101010101" pitchFamily="18" charset="-127"/>
              <a:ea typeface="HY견고딕" panose="02030600000101010101" pitchFamily="18" charset="-127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27684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46</TotalTime>
  <Words>434</Words>
  <Application>Microsoft Office PowerPoint</Application>
  <PresentationFormat>와이드스크린</PresentationFormat>
  <Paragraphs>85</Paragraphs>
  <Slides>10</Slides>
  <Notes>10</Notes>
  <HiddenSlides>0</HiddenSlides>
  <MMClips>0</MMClips>
  <ScaleCrop>false</ScaleCrop>
  <HeadingPairs>
    <vt:vector size="8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0</vt:i4>
      </vt:variant>
    </vt:vector>
  </HeadingPairs>
  <TitlesOfParts>
    <vt:vector size="18" baseType="lpstr">
      <vt:lpstr>HY견고딕</vt:lpstr>
      <vt:lpstr>Arial</vt:lpstr>
      <vt:lpstr>Arial Black</vt:lpstr>
      <vt:lpstr>Calibri</vt:lpstr>
      <vt:lpstr>Calibri Light</vt:lpstr>
      <vt:lpstr>Segoe UI</vt:lpstr>
      <vt:lpstr>Office Theme</vt:lpstr>
      <vt:lpstr>think-cell Slide</vt:lpstr>
      <vt:lpstr>NO TROUBL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3</dc:creator>
  <cp:lastModifiedBy>홍 은주</cp:lastModifiedBy>
  <cp:revision>56</cp:revision>
  <dcterms:created xsi:type="dcterms:W3CDTF">2020-11-11T06:27:07Z</dcterms:created>
  <dcterms:modified xsi:type="dcterms:W3CDTF">2022-11-27T05:03:39Z</dcterms:modified>
</cp:coreProperties>
</file>